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4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5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6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7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11" r:id="rId1"/>
    <p:sldMasterId id="2147484290" r:id="rId2"/>
    <p:sldMasterId id="2147484291" r:id="rId3"/>
    <p:sldMasterId id="2147484292" r:id="rId4"/>
    <p:sldMasterId id="2147484293" r:id="rId5"/>
    <p:sldMasterId id="2147484294" r:id="rId6"/>
    <p:sldMasterId id="2147484295" r:id="rId7"/>
  </p:sldMasterIdLst>
  <p:notesMasterIdLst>
    <p:notesMasterId r:id="rId33"/>
  </p:notesMasterIdLst>
  <p:sldIdLst>
    <p:sldId id="256" r:id="rId8"/>
    <p:sldId id="257" r:id="rId9"/>
    <p:sldId id="258" r:id="rId10"/>
    <p:sldId id="259" r:id="rId11"/>
    <p:sldId id="260" r:id="rId12"/>
    <p:sldId id="261" r:id="rId13"/>
    <p:sldId id="262" r:id="rId14"/>
    <p:sldId id="263" r:id="rId15"/>
    <p:sldId id="264" r:id="rId16"/>
    <p:sldId id="265" r:id="rId17"/>
    <p:sldId id="266" r:id="rId18"/>
    <p:sldId id="273" r:id="rId19"/>
    <p:sldId id="267" r:id="rId20"/>
    <p:sldId id="268" r:id="rId21"/>
    <p:sldId id="269" r:id="rId22"/>
    <p:sldId id="270" r:id="rId23"/>
    <p:sldId id="271" r:id="rId24"/>
    <p:sldId id="272" r:id="rId25"/>
    <p:sldId id="274" r:id="rId26"/>
    <p:sldId id="275" r:id="rId27"/>
    <p:sldId id="276" r:id="rId28"/>
    <p:sldId id="277" r:id="rId29"/>
    <p:sldId id="278" r:id="rId30"/>
    <p:sldId id="279" r:id="rId31"/>
    <p:sldId id="280" r:id="rId32"/>
  </p:sldIdLst>
  <p:sldSz cx="9906000" cy="6858000" type="A4"/>
  <p:notesSz cx="6858000" cy="9144000"/>
  <p:defaultTextStyle>
    <a:defPPr>
      <a:defRPr lang="ru-RU"/>
    </a:defPPr>
    <a:lvl1pPr marL="0" algn="l" defTabSz="913984" rtl="0" eaLnBrk="1" latinLnBrk="0" hangingPunct="1">
      <a:defRPr sz="1760" kern="1200">
        <a:solidFill>
          <a:schemeClr val="tx1"/>
        </a:solidFill>
        <a:latin typeface="+mn-lt"/>
        <a:ea typeface="+mn-ea"/>
        <a:cs typeface="+mn-cs"/>
      </a:defRPr>
    </a:lvl1pPr>
    <a:lvl2pPr marL="456993" algn="l" defTabSz="913984" rtl="0" eaLnBrk="1" latinLnBrk="0" hangingPunct="1">
      <a:defRPr sz="1760" kern="1200">
        <a:solidFill>
          <a:schemeClr val="tx1"/>
        </a:solidFill>
        <a:latin typeface="+mn-lt"/>
        <a:ea typeface="+mn-ea"/>
        <a:cs typeface="+mn-cs"/>
      </a:defRPr>
    </a:lvl2pPr>
    <a:lvl3pPr marL="913984" algn="l" defTabSz="913984" rtl="0" eaLnBrk="1" latinLnBrk="0" hangingPunct="1">
      <a:defRPr sz="1760" kern="1200">
        <a:solidFill>
          <a:schemeClr val="tx1"/>
        </a:solidFill>
        <a:latin typeface="+mn-lt"/>
        <a:ea typeface="+mn-ea"/>
        <a:cs typeface="+mn-cs"/>
      </a:defRPr>
    </a:lvl3pPr>
    <a:lvl4pPr marL="1370976" algn="l" defTabSz="913984" rtl="0" eaLnBrk="1" latinLnBrk="0" hangingPunct="1">
      <a:defRPr sz="1760" kern="1200">
        <a:solidFill>
          <a:schemeClr val="tx1"/>
        </a:solidFill>
        <a:latin typeface="+mn-lt"/>
        <a:ea typeface="+mn-ea"/>
        <a:cs typeface="+mn-cs"/>
      </a:defRPr>
    </a:lvl4pPr>
    <a:lvl5pPr marL="1827969" algn="l" defTabSz="913984" rtl="0" eaLnBrk="1" latinLnBrk="0" hangingPunct="1">
      <a:defRPr sz="1760" kern="1200">
        <a:solidFill>
          <a:schemeClr val="tx1"/>
        </a:solidFill>
        <a:latin typeface="+mn-lt"/>
        <a:ea typeface="+mn-ea"/>
        <a:cs typeface="+mn-cs"/>
      </a:defRPr>
    </a:lvl5pPr>
    <a:lvl6pPr marL="2284960" algn="l" defTabSz="913984" rtl="0" eaLnBrk="1" latinLnBrk="0" hangingPunct="1">
      <a:defRPr sz="1760" kern="1200">
        <a:solidFill>
          <a:schemeClr val="tx1"/>
        </a:solidFill>
        <a:latin typeface="+mn-lt"/>
        <a:ea typeface="+mn-ea"/>
        <a:cs typeface="+mn-cs"/>
      </a:defRPr>
    </a:lvl6pPr>
    <a:lvl7pPr marL="2741952" algn="l" defTabSz="913984" rtl="0" eaLnBrk="1" latinLnBrk="0" hangingPunct="1">
      <a:defRPr sz="1760" kern="1200">
        <a:solidFill>
          <a:schemeClr val="tx1"/>
        </a:solidFill>
        <a:latin typeface="+mn-lt"/>
        <a:ea typeface="+mn-ea"/>
        <a:cs typeface="+mn-cs"/>
      </a:defRPr>
    </a:lvl7pPr>
    <a:lvl8pPr marL="3198944" algn="l" defTabSz="913984" rtl="0" eaLnBrk="1" latinLnBrk="0" hangingPunct="1">
      <a:defRPr sz="1760" kern="1200">
        <a:solidFill>
          <a:schemeClr val="tx1"/>
        </a:solidFill>
        <a:latin typeface="+mn-lt"/>
        <a:ea typeface="+mn-ea"/>
        <a:cs typeface="+mn-cs"/>
      </a:defRPr>
    </a:lvl8pPr>
    <a:lvl9pPr marL="3655936" algn="l" defTabSz="913984" rtl="0" eaLnBrk="1" latinLnBrk="0" hangingPunct="1">
      <a:defRPr sz="176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11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14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654" y="114"/>
      </p:cViewPr>
      <p:guideLst>
        <p:guide orient="horz" pos="1011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A11F6F-80B5-4590-83E8-B46B5732FA0A}" type="datetimeFigureOut">
              <a:rPr lang="ru-RU" smtClean="0"/>
              <a:t>29.12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380801-4FDE-4571-B5E6-610AF53A0DA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0492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FAFDFF-0A32-4A76-8DD4-987898313BA8}" type="slidenum">
              <a:rPr lang="ru-RU" smtClean="0"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852637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FAFDFF-0A32-4A76-8DD4-987898313BA8}" type="slidenum">
              <a:rPr lang="ru-RU" smtClean="0"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83309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0FAFDFF-0A32-4A76-8DD4-987898313BA8}" type="slidenum">
              <a:rPr lang="ru-RU" smtClean="0"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377683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wmf"/><Relationship Id="rId3" Type="http://schemas.openxmlformats.org/officeDocument/2006/relationships/tags" Target="../tags/tag16.xml"/><Relationship Id="rId7" Type="http://schemas.openxmlformats.org/officeDocument/2006/relationships/image" Target="../media/image6.jpeg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18.xml"/><Relationship Id="rId7" Type="http://schemas.openxmlformats.org/officeDocument/2006/relationships/image" Target="../media/image7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w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15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wmf"/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5.jpeg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2" Type="http://schemas.openxmlformats.org/officeDocument/2006/relationships/tags" Target="../tags/tag4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4.w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4.w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4.w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4.w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4.w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- наноли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/>
          <p:cNvGrpSpPr/>
          <p:nvPr/>
        </p:nvGrpSpPr>
        <p:grpSpPr>
          <a:xfrm>
            <a:off x="9947026" y="4"/>
            <a:ext cx="3013327" cy="6857999"/>
            <a:chOff x="9181867" y="1"/>
            <a:chExt cx="2781533" cy="5143499"/>
          </a:xfrm>
        </p:grpSpPr>
        <p:sp>
          <p:nvSpPr>
            <p:cNvPr id="45" name="Прямоугольник 44"/>
            <p:cNvSpPr/>
            <p:nvPr/>
          </p:nvSpPr>
          <p:spPr>
            <a:xfrm>
              <a:off x="9181867" y="1"/>
              <a:ext cx="2781533" cy="5143499"/>
            </a:xfrm>
            <a:prstGeom prst="rect">
              <a:avLst/>
            </a:prstGeom>
            <a:solidFill>
              <a:srgbClr val="149395"/>
            </a:solidFill>
            <a:ln>
              <a:noFill/>
            </a:ln>
          </p:spPr>
          <p:txBody>
            <a:bodyPr wrap="square" lIns="576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9256592" y="6832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9256592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9256592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9256592" y="3367556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9256592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9256592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9256592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9256592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9256592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9256592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31</a:t>
              </a:r>
            </a:p>
          </p:txBody>
        </p:sp>
        <p:sp>
          <p:nvSpPr>
            <p:cNvPr id="26" name="Прямоугольник 25"/>
            <p:cNvSpPr/>
            <p:nvPr/>
          </p:nvSpPr>
          <p:spPr>
            <a:xfrm>
              <a:off x="9256594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9256594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0</a:t>
              </a:r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9256594" y="3367559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9256594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0" name="Прямоугольник 29"/>
            <p:cNvSpPr/>
            <p:nvPr/>
          </p:nvSpPr>
          <p:spPr>
            <a:xfrm>
              <a:off x="9256594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6</a:t>
              </a:r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9256594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9256594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9256594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9256594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31</a:t>
              </a:r>
            </a:p>
          </p:txBody>
        </p:sp>
        <p:cxnSp>
          <p:nvCxnSpPr>
            <p:cNvPr id="9" name="Прямая соединительная линия 8"/>
            <p:cNvCxnSpPr/>
            <p:nvPr/>
          </p:nvCxnSpPr>
          <p:spPr bwMode="auto">
            <a:xfrm>
              <a:off x="9753600" y="444500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36" name="Изображение 2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6644" y="1147365"/>
            <a:ext cx="3284700" cy="4437226"/>
          </a:xfrm>
          <a:prstGeom prst="rect">
            <a:avLst/>
          </a:prstGeom>
        </p:spPr>
      </p:pic>
      <p:sp>
        <p:nvSpPr>
          <p:cNvPr id="41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251000" y="3848183"/>
            <a:ext cx="5357820" cy="1032429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</a:t>
            </a:r>
            <a:r>
              <a:rPr lang="ru-RU" dirty="0" smtClean="0"/>
              <a:t>Фамилия</a:t>
            </a:r>
            <a:br>
              <a:rPr lang="ru-RU" dirty="0" smtClean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Компания </a:t>
            </a:r>
            <a:r>
              <a:rPr lang="ru-RU" dirty="0"/>
              <a:t>/ функция / направление</a:t>
            </a:r>
          </a:p>
        </p:txBody>
      </p:sp>
      <p:sp>
        <p:nvSpPr>
          <p:cNvPr id="42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4251002" y="5194390"/>
            <a:ext cx="5350757" cy="68168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</a:t>
            </a:r>
            <a:r>
              <a:rPr lang="ru-RU" dirty="0" smtClean="0"/>
              <a:t>мероприятия</a:t>
            </a:r>
            <a:br>
              <a:rPr lang="ru-RU" dirty="0" smtClean="0"/>
            </a:br>
            <a:r>
              <a:rPr lang="ru-RU" dirty="0" smtClean="0"/>
              <a:t>Дата </a:t>
            </a:r>
            <a:r>
              <a:rPr lang="ru-RU" dirty="0"/>
              <a:t>проведения</a:t>
            </a:r>
          </a:p>
        </p:txBody>
      </p:sp>
      <p:sp>
        <p:nvSpPr>
          <p:cNvPr id="4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251000" y="1544017"/>
            <a:ext cx="5373979" cy="196126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6773" y="460784"/>
            <a:ext cx="1085631" cy="20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845703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uрафика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1501060"/>
              </p:ext>
            </p:ext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2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71979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9938897" y="4"/>
            <a:ext cx="3013327" cy="6857999"/>
          </a:xfrm>
          <a:prstGeom prst="rect">
            <a:avLst/>
          </a:prstGeom>
          <a:solidFill>
            <a:srgbClr val="2D8797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10019846" y="91099"/>
            <a:ext cx="409056" cy="582612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10019846" y="1256321"/>
            <a:ext cx="409056" cy="58420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10019846" y="673712"/>
            <a:ext cx="409056" cy="582613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10019846" y="4490076"/>
            <a:ext cx="409056" cy="582613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10019846" y="2164372"/>
            <a:ext cx="409056" cy="58420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10019846" y="2742223"/>
            <a:ext cx="409056" cy="582612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10019846" y="3324840"/>
            <a:ext cx="409056" cy="582613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10019846" y="39074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10019846" y="5072672"/>
            <a:ext cx="409056" cy="58420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10019846" y="5656872"/>
            <a:ext cx="409056" cy="58420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10019849" y="1256321"/>
            <a:ext cx="409056" cy="58420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10019849" y="673712"/>
            <a:ext cx="409056" cy="582613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10019849" y="4490080"/>
            <a:ext cx="409056" cy="582613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10019849" y="2164372"/>
            <a:ext cx="409056" cy="58420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10019849" y="2742223"/>
            <a:ext cx="409056" cy="582612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10019849" y="3324840"/>
            <a:ext cx="409056" cy="582613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10019849" y="39074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10019849" y="5072672"/>
            <a:ext cx="409056" cy="58420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10019849" y="5656872"/>
            <a:ext cx="409056" cy="58420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66" name="Прямая соединительная линия 65"/>
          <p:cNvCxnSpPr/>
          <p:nvPr/>
        </p:nvCxnSpPr>
        <p:spPr bwMode="auto">
          <a:xfrm>
            <a:off x="10558274" y="592667"/>
            <a:ext cx="222197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0" name="Рисунок 29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31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251000" y="3848183"/>
            <a:ext cx="5357820" cy="1032429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</a:t>
            </a:r>
            <a:r>
              <a:rPr lang="ru-RU" dirty="0" smtClean="0"/>
              <a:t>Фамилия</a:t>
            </a:r>
            <a:br>
              <a:rPr lang="ru-RU" dirty="0" smtClean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Компания </a:t>
            </a:r>
            <a:r>
              <a:rPr lang="ru-RU" dirty="0"/>
              <a:t>/ функция / направление</a:t>
            </a:r>
          </a:p>
        </p:txBody>
      </p:sp>
      <p:sp>
        <p:nvSpPr>
          <p:cNvPr id="32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4251002" y="5194390"/>
            <a:ext cx="5350757" cy="68168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</a:t>
            </a:r>
            <a:r>
              <a:rPr lang="ru-RU" dirty="0" smtClean="0"/>
              <a:t>мероприятия</a:t>
            </a:r>
            <a:br>
              <a:rPr lang="ru-RU" dirty="0" smtClean="0"/>
            </a:br>
            <a:r>
              <a:rPr lang="ru-RU" dirty="0" smtClean="0"/>
              <a:t>Дата </a:t>
            </a:r>
            <a:r>
              <a:rPr lang="ru-RU" dirty="0"/>
              <a:t>проведения</a:t>
            </a:r>
          </a:p>
        </p:txBody>
      </p:sp>
      <p:sp>
        <p:nvSpPr>
          <p:cNvPr id="3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251000" y="1544017"/>
            <a:ext cx="5373979" cy="196126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4" name="Picture 33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7730" y="3062311"/>
            <a:ext cx="1085631" cy="20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9506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бирюзовый фон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1051897"/>
              </p:ext>
            </p:ext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01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71979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9938897" y="4"/>
            <a:ext cx="3013327" cy="6857999"/>
          </a:xfrm>
          <a:prstGeom prst="rect">
            <a:avLst/>
          </a:prstGeom>
          <a:solidFill>
            <a:srgbClr val="2D8797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10019846" y="91099"/>
            <a:ext cx="409056" cy="582612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10019846" y="1256321"/>
            <a:ext cx="409056" cy="58420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10019846" y="673712"/>
            <a:ext cx="409056" cy="582613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10019846" y="4490076"/>
            <a:ext cx="409056" cy="582613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10019846" y="2164372"/>
            <a:ext cx="409056" cy="58420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10019846" y="2742223"/>
            <a:ext cx="409056" cy="582612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10019846" y="3324840"/>
            <a:ext cx="409056" cy="582613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10019846" y="39074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10019846" y="5072672"/>
            <a:ext cx="409056" cy="58420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10019846" y="5656872"/>
            <a:ext cx="409056" cy="58420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10019849" y="1256321"/>
            <a:ext cx="409056" cy="58420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10019849" y="673712"/>
            <a:ext cx="409056" cy="582613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10019849" y="4490080"/>
            <a:ext cx="409056" cy="582613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10019849" y="2164372"/>
            <a:ext cx="409056" cy="58420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10019849" y="2742223"/>
            <a:ext cx="409056" cy="582612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10019849" y="3324840"/>
            <a:ext cx="409056" cy="582613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10019849" y="39074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10019849" y="5072672"/>
            <a:ext cx="409056" cy="58420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10019849" y="5656872"/>
            <a:ext cx="409056" cy="58420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66" name="Прямая соединительная линия 65"/>
          <p:cNvCxnSpPr/>
          <p:nvPr/>
        </p:nvCxnSpPr>
        <p:spPr bwMode="auto">
          <a:xfrm>
            <a:off x="10558274" y="592667"/>
            <a:ext cx="222197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30" name="Рисунок 29"/>
          <p:cNvPicPr>
            <a:picLocks noChangeAspect="1"/>
          </p:cNvPicPr>
          <p:nvPr/>
        </p:nvPicPr>
        <p:blipFill>
          <a:blip r:embed="rId7" cstate="email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39954" y="924679"/>
            <a:ext cx="4318065" cy="4659911"/>
          </a:xfrm>
          <a:prstGeom prst="rect">
            <a:avLst/>
          </a:prstGeom>
        </p:spPr>
      </p:pic>
      <p:sp>
        <p:nvSpPr>
          <p:cNvPr id="32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251000" y="3848183"/>
            <a:ext cx="5357820" cy="1032429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bg1"/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</a:t>
            </a:r>
            <a:r>
              <a:rPr lang="ru-RU" dirty="0" smtClean="0"/>
              <a:t>Фамилия</a:t>
            </a:r>
            <a:br>
              <a:rPr lang="ru-RU" dirty="0" smtClean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Компания </a:t>
            </a:r>
            <a:r>
              <a:rPr lang="ru-RU" dirty="0"/>
              <a:t>/ функция / направление</a:t>
            </a:r>
          </a:p>
        </p:txBody>
      </p:sp>
      <p:sp>
        <p:nvSpPr>
          <p:cNvPr id="33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4251002" y="5194390"/>
            <a:ext cx="5350757" cy="68168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bg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</a:t>
            </a:r>
            <a:r>
              <a:rPr lang="ru-RU" dirty="0" smtClean="0"/>
              <a:t>мероприятия</a:t>
            </a:r>
            <a:br>
              <a:rPr lang="ru-RU" dirty="0" smtClean="0"/>
            </a:br>
            <a:r>
              <a:rPr lang="ru-RU" dirty="0" smtClean="0"/>
              <a:t>Дата </a:t>
            </a:r>
            <a:r>
              <a:rPr lang="ru-RU" dirty="0"/>
              <a:t>проведения</a:t>
            </a:r>
          </a:p>
        </p:txBody>
      </p:sp>
      <p:sp>
        <p:nvSpPr>
          <p:cNvPr id="3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251000" y="1544017"/>
            <a:ext cx="5373979" cy="196126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1" name="Picture 30"/>
          <p:cNvPicPr>
            <a:picLocks noChangeAspect="1"/>
          </p:cNvPicPr>
          <p:nvPr/>
        </p:nvPicPr>
        <p:blipFill>
          <a:blip r:embed="rId9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6773" y="460784"/>
            <a:ext cx="1085631" cy="20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71438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7C3FB3E-5965-43D2-9005-199D1A1AC1A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99513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2098239"/>
              </p:ext>
            </p:extLst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2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448571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3619755"/>
              </p:ext>
            </p:ext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4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123522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64802051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290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71979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276900" y="1970340"/>
            <a:ext cx="9323665" cy="845800"/>
          </a:xfrm>
          <a:prstGeom prst="rect">
            <a:avLst/>
          </a:prstGeom>
        </p:spPr>
        <p:txBody>
          <a:bodyPr anchor="t"/>
          <a:lstStyle>
            <a:lvl1pPr algn="l">
              <a:defRPr sz="2000" b="0" cap="all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745022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3754345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315"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71979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/>
          </p:nvPr>
        </p:nvSpPr>
        <p:spPr>
          <a:xfrm>
            <a:off x="276901" y="2306288"/>
            <a:ext cx="9324300" cy="1362075"/>
          </a:xfrm>
          <a:prstGeom prst="rect">
            <a:avLst/>
          </a:prstGeom>
        </p:spPr>
        <p:txBody>
          <a:bodyPr anchor="t"/>
          <a:lstStyle>
            <a:lvl1pPr algn="ctr">
              <a:defRPr sz="1800" b="0" cap="all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196600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1445685"/>
              </p:ext>
            </p:extLst>
          </p:nvPr>
        </p:nvGraphicFramePr>
        <p:xfrm>
          <a:off x="1721" y="2120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33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2120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cxnSp>
        <p:nvCxnSpPr>
          <p:cNvPr id="7" name="Прямая соединительная линия 6"/>
          <p:cNvCxnSpPr>
            <a:cxnSpLocks/>
          </p:cNvCxnSpPr>
          <p:nvPr/>
        </p:nvCxnSpPr>
        <p:spPr bwMode="auto">
          <a:xfrm>
            <a:off x="683927" y="2174551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Прямая соединительная линия 7"/>
          <p:cNvCxnSpPr>
            <a:cxnSpLocks/>
          </p:cNvCxnSpPr>
          <p:nvPr/>
        </p:nvCxnSpPr>
        <p:spPr bwMode="auto">
          <a:xfrm>
            <a:off x="672432" y="2174551"/>
            <a:ext cx="289142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" name="Текст 18"/>
          <p:cNvSpPr>
            <a:spLocks noGrp="1"/>
          </p:cNvSpPr>
          <p:nvPr>
            <p:ph type="body" sz="quarter" idx="13"/>
          </p:nvPr>
        </p:nvSpPr>
        <p:spPr>
          <a:xfrm>
            <a:off x="663305" y="1736846"/>
            <a:ext cx="3197734" cy="290195"/>
          </a:xfrm>
          <a:prstGeom prst="rect">
            <a:avLst/>
          </a:prstGeom>
        </p:spPr>
        <p:txBody>
          <a:bodyPr/>
          <a:lstStyle>
            <a:lvl1pPr>
              <a:defRPr kumimoji="0" lang="ru-RU" sz="1800" b="0" i="0" u="none" strike="noStrike" kern="1200" cap="none" spc="0" normalizeH="0" baseline="0" dirty="0" smtClean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4585590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7" name="Таблица 6"/>
          <p:cNvSpPr>
            <a:spLocks noGrp="1"/>
          </p:cNvSpPr>
          <p:nvPr>
            <p:ph type="tbl" sz="quarter" idx="13"/>
          </p:nvPr>
        </p:nvSpPr>
        <p:spPr>
          <a:xfrm>
            <a:off x="276888" y="1331385"/>
            <a:ext cx="9371144" cy="4794249"/>
          </a:xfr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188810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76900" y="1431781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276900" y="2251968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276900" y="3072155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276900" y="3892341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4"/>
          <p:cNvSpPr>
            <a:spLocks noGrp="1"/>
          </p:cNvSpPr>
          <p:nvPr>
            <p:ph type="pic" sz="quarter" idx="27" hasCustomPrompt="1"/>
          </p:nvPr>
        </p:nvSpPr>
        <p:spPr>
          <a:xfrm>
            <a:off x="276900" y="4712528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Рисунок 14"/>
          <p:cNvSpPr>
            <a:spLocks noGrp="1"/>
          </p:cNvSpPr>
          <p:nvPr>
            <p:ph type="pic" sz="quarter" idx="28" hasCustomPrompt="1"/>
          </p:nvPr>
        </p:nvSpPr>
        <p:spPr>
          <a:xfrm>
            <a:off x="276900" y="5532713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C26854C-9590-4F77-A1DA-AD30F168CD33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97622" y="1334690"/>
            <a:ext cx="8750757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6C1560EF-8C42-46D3-A113-AED54EB9099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97622" y="2156909"/>
            <a:ext cx="8750757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7ABE165-F729-425A-9522-F3ACCC449C7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97622" y="2979127"/>
            <a:ext cx="8750757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F9A3E6EC-E939-43BF-BEAA-BE9928A833D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97622" y="3801346"/>
            <a:ext cx="8750757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3451A043-E6A6-452E-BB24-0D7E5BCFDF5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97622" y="4623565"/>
            <a:ext cx="8750757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627E7D48-BBF6-4E78-B5EB-487E2B774110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97622" y="5445783"/>
            <a:ext cx="8750757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13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- ООО «СИБУР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/>
          <p:cNvGrpSpPr/>
          <p:nvPr/>
        </p:nvGrpSpPr>
        <p:grpSpPr>
          <a:xfrm>
            <a:off x="9947026" y="4"/>
            <a:ext cx="3013327" cy="6857999"/>
            <a:chOff x="9181867" y="1"/>
            <a:chExt cx="2781533" cy="5143499"/>
          </a:xfrm>
        </p:grpSpPr>
        <p:sp>
          <p:nvSpPr>
            <p:cNvPr id="45" name="Прямоугольник 44"/>
            <p:cNvSpPr/>
            <p:nvPr/>
          </p:nvSpPr>
          <p:spPr>
            <a:xfrm>
              <a:off x="9181867" y="1"/>
              <a:ext cx="2781533" cy="5143499"/>
            </a:xfrm>
            <a:prstGeom prst="rect">
              <a:avLst/>
            </a:prstGeom>
            <a:solidFill>
              <a:srgbClr val="149395"/>
            </a:solidFill>
            <a:ln>
              <a:noFill/>
            </a:ln>
          </p:spPr>
          <p:txBody>
            <a:bodyPr wrap="square" lIns="576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9256592" y="6832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9256592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9256592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9256592" y="3367556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9256592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9256592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9256592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9256592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24" name="Прямоугольник 23"/>
            <p:cNvSpPr/>
            <p:nvPr/>
          </p:nvSpPr>
          <p:spPr>
            <a:xfrm>
              <a:off x="9256592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9256592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31</a:t>
              </a:r>
            </a:p>
          </p:txBody>
        </p:sp>
        <p:sp>
          <p:nvSpPr>
            <p:cNvPr id="26" name="Прямоугольник 25"/>
            <p:cNvSpPr/>
            <p:nvPr/>
          </p:nvSpPr>
          <p:spPr>
            <a:xfrm>
              <a:off x="9256594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</p:txBody>
        </p:sp>
        <p:sp>
          <p:nvSpPr>
            <p:cNvPr id="27" name="Прямоугольник 26"/>
            <p:cNvSpPr/>
            <p:nvPr/>
          </p:nvSpPr>
          <p:spPr>
            <a:xfrm>
              <a:off x="9256594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0</a:t>
              </a:r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9256594" y="3367559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9256594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0" name="Прямоугольник 29"/>
            <p:cNvSpPr/>
            <p:nvPr/>
          </p:nvSpPr>
          <p:spPr>
            <a:xfrm>
              <a:off x="9256594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6</a:t>
              </a:r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9256594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9256594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9256594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9256594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31</a:t>
              </a:r>
            </a:p>
          </p:txBody>
        </p:sp>
        <p:cxnSp>
          <p:nvCxnSpPr>
            <p:cNvPr id="9" name="Прямая соединительная линия 8"/>
            <p:cNvCxnSpPr/>
            <p:nvPr/>
          </p:nvCxnSpPr>
          <p:spPr bwMode="auto">
            <a:xfrm>
              <a:off x="9753600" y="444500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7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251000" y="3848183"/>
            <a:ext cx="5357820" cy="1032429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</a:t>
            </a:r>
            <a:r>
              <a:rPr lang="ru-RU" dirty="0" smtClean="0"/>
              <a:t>Фамилия</a:t>
            </a:r>
            <a:br>
              <a:rPr lang="ru-RU" dirty="0" smtClean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Компания </a:t>
            </a:r>
            <a:r>
              <a:rPr lang="ru-RU" dirty="0"/>
              <a:t>/ функция / направление</a:t>
            </a:r>
          </a:p>
        </p:txBody>
      </p:sp>
      <p:sp>
        <p:nvSpPr>
          <p:cNvPr id="38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4251002" y="5194390"/>
            <a:ext cx="5350757" cy="68168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</a:t>
            </a:r>
            <a:r>
              <a:rPr lang="ru-RU" dirty="0" smtClean="0"/>
              <a:t>мероприятия</a:t>
            </a:r>
            <a:br>
              <a:rPr lang="ru-RU" dirty="0" smtClean="0"/>
            </a:br>
            <a:r>
              <a:rPr lang="ru-RU" dirty="0" smtClean="0"/>
              <a:t>Дата </a:t>
            </a:r>
            <a:r>
              <a:rPr lang="ru-RU" dirty="0"/>
              <a:t>проведения</a:t>
            </a:r>
          </a:p>
        </p:txBody>
      </p:sp>
      <p:sp>
        <p:nvSpPr>
          <p:cNvPr id="4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251000" y="1544017"/>
            <a:ext cx="5373979" cy="196126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43" name="Изображение 2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6644" y="1147365"/>
            <a:ext cx="3284700" cy="4437226"/>
          </a:xfrm>
          <a:prstGeom prst="rect">
            <a:avLst/>
          </a:prstGeom>
        </p:spPr>
      </p:pic>
      <p:cxnSp>
        <p:nvCxnSpPr>
          <p:cNvPr id="46" name="Прямая соединительная линия 45"/>
          <p:cNvCxnSpPr>
            <a:endCxn id="48" idx="3"/>
          </p:cNvCxnSpPr>
          <p:nvPr/>
        </p:nvCxnSpPr>
        <p:spPr bwMode="auto">
          <a:xfrm flipH="1" flipV="1">
            <a:off x="5476430" y="6166055"/>
            <a:ext cx="4429576" cy="46171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7" name="Прямая соединительная линия 46"/>
          <p:cNvCxnSpPr/>
          <p:nvPr/>
        </p:nvCxnSpPr>
        <p:spPr bwMode="auto">
          <a:xfrm>
            <a:off x="3" y="6212220"/>
            <a:ext cx="4160177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8" name="TextBox 47"/>
          <p:cNvSpPr txBox="1"/>
          <p:nvPr/>
        </p:nvSpPr>
        <p:spPr>
          <a:xfrm>
            <a:off x="4191142" y="6027555"/>
            <a:ext cx="128528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accent1"/>
                </a:solidFill>
              </a:rPr>
              <a:t>ООО «СИБУР»</a:t>
            </a:r>
          </a:p>
        </p:txBody>
      </p:sp>
      <p:pic>
        <p:nvPicPr>
          <p:cNvPr id="35" name="Picture 34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6773" y="460784"/>
            <a:ext cx="1085631" cy="20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51619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 + фото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6900" y="272720"/>
            <a:ext cx="6137235" cy="7056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554127" y="0"/>
            <a:ext cx="3351873" cy="68580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FB58CCCB-FC9E-47FF-AE1A-2B8103C4EC8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76900" y="1431781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C9C594E9-F98C-4ECD-BBE5-1A777FD07C4A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84892" y="1334690"/>
            <a:ext cx="5529243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5" name="Рисунок 14">
            <a:extLst>
              <a:ext uri="{FF2B5EF4-FFF2-40B4-BE49-F238E27FC236}">
                <a16:creationId xmlns:a16="http://schemas.microsoft.com/office/drawing/2014/main" id="{AF7E94E8-5A2E-4B85-8346-35E006E4E6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76900" y="2145563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CBB7B1C5-0535-4FD0-9141-E4811B53E2B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84892" y="2048471"/>
            <a:ext cx="5529243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Рисунок 14">
            <a:extLst>
              <a:ext uri="{FF2B5EF4-FFF2-40B4-BE49-F238E27FC236}">
                <a16:creationId xmlns:a16="http://schemas.microsoft.com/office/drawing/2014/main" id="{CAD2D448-B9A8-498E-BEC3-88F1259C47E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276900" y="2865053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Text Placeholder 7">
            <a:extLst>
              <a:ext uri="{FF2B5EF4-FFF2-40B4-BE49-F238E27FC236}">
                <a16:creationId xmlns:a16="http://schemas.microsoft.com/office/drawing/2014/main" id="{3989DD66-5540-48DC-A10A-5DDAB08B011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84892" y="2767962"/>
            <a:ext cx="5529243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Рисунок 14">
            <a:extLst>
              <a:ext uri="{FF2B5EF4-FFF2-40B4-BE49-F238E27FC236}">
                <a16:creationId xmlns:a16="http://schemas.microsoft.com/office/drawing/2014/main" id="{DD146D87-19E3-4A72-9020-4C781871DC9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276900" y="3584544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292F8E39-E868-4536-A12D-FD1C3FBCA9C5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884892" y="3487452"/>
            <a:ext cx="5529243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1" name="Рисунок 14">
            <a:extLst>
              <a:ext uri="{FF2B5EF4-FFF2-40B4-BE49-F238E27FC236}">
                <a16:creationId xmlns:a16="http://schemas.microsoft.com/office/drawing/2014/main" id="{F8E680ED-3238-4F87-B236-95D34EE91BFD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276900" y="4304035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BE6F9E0F-6B32-4528-B792-28DB2E17C00F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84892" y="4206943"/>
            <a:ext cx="5529243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Рисунок 14">
            <a:extLst>
              <a:ext uri="{FF2B5EF4-FFF2-40B4-BE49-F238E27FC236}">
                <a16:creationId xmlns:a16="http://schemas.microsoft.com/office/drawing/2014/main" id="{80370F26-8302-4977-AEFC-CB03B7EF8574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276900" y="5023525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A1A60B29-3714-4301-95B5-4828A8E2C17E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84892" y="4926434"/>
            <a:ext cx="5529243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5" name="Рисунок 14">
            <a:extLst>
              <a:ext uri="{FF2B5EF4-FFF2-40B4-BE49-F238E27FC236}">
                <a16:creationId xmlns:a16="http://schemas.microsoft.com/office/drawing/2014/main" id="{9820ABA4-917D-44CA-8A15-933CDF460744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276900" y="5743016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A6565569-AD3D-4D67-9D0D-713544D23771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884892" y="5645925"/>
            <a:ext cx="5529243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451479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 + выво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765662" y="1334688"/>
            <a:ext cx="2867339" cy="5003045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6900" y="272720"/>
            <a:ext cx="9356100" cy="7056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276899" y="6340605"/>
            <a:ext cx="6488764" cy="443416"/>
          </a:xfrm>
        </p:spPr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276900" y="1431781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1CE97842-6475-454B-98E4-01D23229437B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864066" y="1334690"/>
            <a:ext cx="5550069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276900" y="2145563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5B98125D-1849-4AF0-BE91-E7620FA2CD9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64066" y="2048471"/>
            <a:ext cx="5550069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276900" y="2865053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C68FBEC0-B9BA-476B-ABDD-7E71B00EE8EA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64066" y="2767962"/>
            <a:ext cx="5550069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276900" y="3584544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E29092CD-E822-4EDC-B8B6-0CD610BF5A3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864066" y="3487452"/>
            <a:ext cx="5550069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276900" y="4304035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17D889CD-8958-4384-9905-DA3BB80B463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64066" y="4206943"/>
            <a:ext cx="5550069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276900" y="5023525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9CFB8B23-03A2-49E8-B1D0-9DC2CBF3B7D9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64066" y="4926434"/>
            <a:ext cx="5550069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276900" y="5743016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1B760FD3-9F71-474E-8525-B92C26CC945A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864066" y="5645925"/>
            <a:ext cx="5550069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317389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 + предпосыл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71728" y="1289494"/>
            <a:ext cx="3038528" cy="4922924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38" name="Рисунок 14">
            <a:extLst>
              <a:ext uri="{FF2B5EF4-FFF2-40B4-BE49-F238E27FC236}">
                <a16:creationId xmlns:a16="http://schemas.microsoft.com/office/drawing/2014/main" id="{4B7DA86D-EE14-4915-A8B5-722C9CBBE67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470275" y="1431781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9" name="Text Placeholder 7">
            <a:extLst>
              <a:ext uri="{FF2B5EF4-FFF2-40B4-BE49-F238E27FC236}">
                <a16:creationId xmlns:a16="http://schemas.microsoft.com/office/drawing/2014/main" id="{C980792E-90B1-44B5-8002-FDCADECFF35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098294" y="1334690"/>
            <a:ext cx="5547316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0" name="Рисунок 14">
            <a:extLst>
              <a:ext uri="{FF2B5EF4-FFF2-40B4-BE49-F238E27FC236}">
                <a16:creationId xmlns:a16="http://schemas.microsoft.com/office/drawing/2014/main" id="{8880097B-8F31-4EE5-BC21-B835E5694478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470275" y="2145563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1" name="Text Placeholder 7">
            <a:extLst>
              <a:ext uri="{FF2B5EF4-FFF2-40B4-BE49-F238E27FC236}">
                <a16:creationId xmlns:a16="http://schemas.microsoft.com/office/drawing/2014/main" id="{5500CAD4-F3E7-4A42-9896-E4DE9E9D76B2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098294" y="2048471"/>
            <a:ext cx="5547316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2" name="Рисунок 14">
            <a:extLst>
              <a:ext uri="{FF2B5EF4-FFF2-40B4-BE49-F238E27FC236}">
                <a16:creationId xmlns:a16="http://schemas.microsoft.com/office/drawing/2014/main" id="{E16E0BFD-89AD-4030-B243-57B7C43695D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470275" y="2865053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C1581854-5F88-478E-B1DF-C7C6B471439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098294" y="2767962"/>
            <a:ext cx="5547316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4" name="Рисунок 14">
            <a:extLst>
              <a:ext uri="{FF2B5EF4-FFF2-40B4-BE49-F238E27FC236}">
                <a16:creationId xmlns:a16="http://schemas.microsoft.com/office/drawing/2014/main" id="{A4DAF9EC-0161-47E9-86C7-7216F4250C5B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470275" y="3584544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5" name="Text Placeholder 7">
            <a:extLst>
              <a:ext uri="{FF2B5EF4-FFF2-40B4-BE49-F238E27FC236}">
                <a16:creationId xmlns:a16="http://schemas.microsoft.com/office/drawing/2014/main" id="{AAD4FB18-41A7-45E9-8170-51281C4A35D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098294" y="3487452"/>
            <a:ext cx="5547316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6" name="Рисунок 14">
            <a:extLst>
              <a:ext uri="{FF2B5EF4-FFF2-40B4-BE49-F238E27FC236}">
                <a16:creationId xmlns:a16="http://schemas.microsoft.com/office/drawing/2014/main" id="{E2CA454F-F786-4F65-B99A-43B767CC4BF3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470275" y="4304035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7" name="Text Placeholder 7">
            <a:extLst>
              <a:ext uri="{FF2B5EF4-FFF2-40B4-BE49-F238E27FC236}">
                <a16:creationId xmlns:a16="http://schemas.microsoft.com/office/drawing/2014/main" id="{728204F5-9978-458C-B886-0FE2D703C4C2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098294" y="4206943"/>
            <a:ext cx="5547316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8" name="Рисунок 14">
            <a:extLst>
              <a:ext uri="{FF2B5EF4-FFF2-40B4-BE49-F238E27FC236}">
                <a16:creationId xmlns:a16="http://schemas.microsoft.com/office/drawing/2014/main" id="{D166CBFF-D38C-4D25-8578-052855591538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470275" y="5023525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9" name="Text Placeholder 7">
            <a:extLst>
              <a:ext uri="{FF2B5EF4-FFF2-40B4-BE49-F238E27FC236}">
                <a16:creationId xmlns:a16="http://schemas.microsoft.com/office/drawing/2014/main" id="{CD3562CE-A3F4-466B-A9D3-AC2175F868C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098294" y="4926434"/>
            <a:ext cx="5547316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0" name="Рисунок 14">
            <a:extLst>
              <a:ext uri="{FF2B5EF4-FFF2-40B4-BE49-F238E27FC236}">
                <a16:creationId xmlns:a16="http://schemas.microsoft.com/office/drawing/2014/main" id="{1C5D21D0-A654-4F33-BE00-4AAAD3146301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470275" y="5743016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1" name="Text Placeholder 7">
            <a:extLst>
              <a:ext uri="{FF2B5EF4-FFF2-40B4-BE49-F238E27FC236}">
                <a16:creationId xmlns:a16="http://schemas.microsoft.com/office/drawing/2014/main" id="{5CE170A8-BA82-4FE4-ADC7-72FC991D9054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098294" y="5645925"/>
            <a:ext cx="5547316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7835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 + фото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44355" y="272720"/>
            <a:ext cx="5988645" cy="7056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1" y="0"/>
            <a:ext cx="3351873" cy="68580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0F330F95-7EBC-4271-9C49-F0553ABB45B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644355" y="1431781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9D1C6CFE-3B42-4E68-8F90-D16CA3CB581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244829" y="1334690"/>
            <a:ext cx="5536761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17C8AFFB-91D7-48BE-BA4C-A402F77F8535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644355" y="2145563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0EC294AA-CA93-448B-8CDF-AABD8FA081A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244829" y="2048471"/>
            <a:ext cx="5536761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9417A9CF-5B7D-40E0-890E-E0C892B0DBA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644355" y="2865053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181702C2-B12F-4EAE-994D-1092DDAA840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4244829" y="2767962"/>
            <a:ext cx="5536761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5C52364B-C15A-4133-B102-541B5C18DD4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644355" y="3584544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309921A7-5A7D-429D-98F8-5C3D0D68DF4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244829" y="3487452"/>
            <a:ext cx="5536761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85866053-C0C3-4840-A70B-ADE6462FD4E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644355" y="4304035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1CE4F2F3-D83C-44A2-ADA5-3A2B4310AC3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4244829" y="4206943"/>
            <a:ext cx="5536761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BB1F9AA0-0565-4D7A-ADAF-E349DF55D060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644355" y="5023525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5" name="Text Placeholder 7">
            <a:extLst>
              <a:ext uri="{FF2B5EF4-FFF2-40B4-BE49-F238E27FC236}">
                <a16:creationId xmlns:a16="http://schemas.microsoft.com/office/drawing/2014/main" id="{D755A123-151B-4050-A5F3-4A9019222E3D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244829" y="4926434"/>
            <a:ext cx="5536761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7C98835F-EA09-4ED1-B396-8DC0E5340E8F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644355" y="5743016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7" name="Text Placeholder 7">
            <a:extLst>
              <a:ext uri="{FF2B5EF4-FFF2-40B4-BE49-F238E27FC236}">
                <a16:creationId xmlns:a16="http://schemas.microsoft.com/office/drawing/2014/main" id="{1D5355F9-7F30-4BD3-9D56-6F134F19492B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244829" y="5645925"/>
            <a:ext cx="5536761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22151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ольшое фото слева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184137" y="1289494"/>
            <a:ext cx="4448863" cy="4922924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184138" y="272720"/>
            <a:ext cx="4448861" cy="7056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944745" cy="68580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09573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ольшое фото справа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76902" y="1289494"/>
            <a:ext cx="4448863" cy="4922924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6901" y="272720"/>
            <a:ext cx="4448861" cy="7056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276901" y="6340605"/>
            <a:ext cx="4448861" cy="443416"/>
          </a:xfrm>
        </p:spPr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961255" y="0"/>
            <a:ext cx="4944745" cy="68580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10016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ото слева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644356" y="1289494"/>
            <a:ext cx="5988645" cy="4922924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44355" y="272720"/>
            <a:ext cx="5988645" cy="7056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1" y="0"/>
            <a:ext cx="3351873" cy="68580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016579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ото справа +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6900" y="272720"/>
            <a:ext cx="5988645" cy="705600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554127" y="0"/>
            <a:ext cx="3351873" cy="68580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76902" y="1289494"/>
            <a:ext cx="5988644" cy="4922924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19207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иаграмма с комментар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869305" y="1091643"/>
            <a:ext cx="3763695" cy="5120775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Диаграмма 13"/>
          <p:cNvSpPr>
            <a:spLocks noGrp="1"/>
          </p:cNvSpPr>
          <p:nvPr>
            <p:ph type="chart" sz="quarter" idx="18" hasCustomPrompt="1"/>
          </p:nvPr>
        </p:nvSpPr>
        <p:spPr>
          <a:xfrm>
            <a:off x="276887" y="1746252"/>
            <a:ext cx="5485103" cy="4466165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76898" y="1091643"/>
            <a:ext cx="5485092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</p:spTree>
    <p:extLst>
      <p:ext uri="{BB962C8B-B14F-4D97-AF65-F5344CB8AC3E}">
        <p14:creationId xmlns:p14="http://schemas.microsoft.com/office/powerpoint/2010/main" val="34641058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Текст 8"/>
          <p:cNvSpPr>
            <a:spLocks noGrp="1"/>
          </p:cNvSpPr>
          <p:nvPr>
            <p:ph type="body" sz="quarter" idx="14"/>
          </p:nvPr>
        </p:nvSpPr>
        <p:spPr>
          <a:xfrm>
            <a:off x="276887" y="1123951"/>
            <a:ext cx="4560888" cy="5088467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/>
          </p:nvPr>
        </p:nvSpPr>
        <p:spPr>
          <a:xfrm>
            <a:off x="5072112" y="1123951"/>
            <a:ext cx="4560888" cy="5088467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75738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- ПАО «СИБУР Холдинг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"/>
          <p:cNvGrpSpPr/>
          <p:nvPr/>
        </p:nvGrpSpPr>
        <p:grpSpPr>
          <a:xfrm>
            <a:off x="9988427" y="4"/>
            <a:ext cx="3013327" cy="6857999"/>
            <a:chOff x="9220084" y="1"/>
            <a:chExt cx="2781533" cy="5143499"/>
          </a:xfrm>
        </p:grpSpPr>
        <p:sp>
          <p:nvSpPr>
            <p:cNvPr id="45" name="Прямоугольник 44"/>
            <p:cNvSpPr/>
            <p:nvPr/>
          </p:nvSpPr>
          <p:spPr>
            <a:xfrm>
              <a:off x="9220084" y="1"/>
              <a:ext cx="2781533" cy="5143499"/>
            </a:xfrm>
            <a:prstGeom prst="rect">
              <a:avLst/>
            </a:prstGeom>
            <a:solidFill>
              <a:srgbClr val="149395"/>
            </a:solidFill>
            <a:ln>
              <a:noFill/>
            </a:ln>
          </p:spPr>
          <p:txBody>
            <a:bodyPr wrap="square" lIns="576000">
              <a:noAutofit/>
            </a:bodyPr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ru-RU" sz="1200" b="1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1" dirty="0">
                  <a:solidFill>
                    <a:schemeClr val="bg1"/>
                  </a:solidFill>
                </a:rPr>
              </a:br>
              <a:r>
                <a:rPr lang="ru-RU" sz="12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94809" y="6832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94809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9294809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9294809" y="3367556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94809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94809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94809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9294809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54" name="Прямоугольник 53"/>
            <p:cNvSpPr/>
            <p:nvPr/>
          </p:nvSpPr>
          <p:spPr>
            <a:xfrm>
              <a:off x="9294809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9294809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31</a:t>
              </a:r>
            </a:p>
          </p:txBody>
        </p:sp>
        <p:sp>
          <p:nvSpPr>
            <p:cNvPr id="56" name="Прямоугольник 55"/>
            <p:cNvSpPr/>
            <p:nvPr/>
          </p:nvSpPr>
          <p:spPr>
            <a:xfrm>
              <a:off x="9294811" y="942241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9294811" y="505283"/>
              <a:ext cx="377590" cy="436960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0</a:t>
              </a:r>
            </a:p>
          </p:txBody>
        </p:sp>
        <p:sp>
          <p:nvSpPr>
            <p:cNvPr id="58" name="Прямоугольник 57"/>
            <p:cNvSpPr/>
            <p:nvPr/>
          </p:nvSpPr>
          <p:spPr>
            <a:xfrm>
              <a:off x="9294811" y="3367559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59" name="Прямоугольник 58"/>
            <p:cNvSpPr/>
            <p:nvPr/>
          </p:nvSpPr>
          <p:spPr>
            <a:xfrm>
              <a:off x="9294811" y="1623279"/>
              <a:ext cx="377590" cy="43815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0" name="Прямоугольник 59"/>
            <p:cNvSpPr/>
            <p:nvPr/>
          </p:nvSpPr>
          <p:spPr>
            <a:xfrm>
              <a:off x="9294811" y="2056666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6</a:t>
              </a:r>
            </a:p>
          </p:txBody>
        </p:sp>
        <p:sp>
          <p:nvSpPr>
            <p:cNvPr id="61" name="Прямоугольник 60"/>
            <p:cNvSpPr/>
            <p:nvPr/>
          </p:nvSpPr>
          <p:spPr>
            <a:xfrm>
              <a:off x="9294811" y="2493630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2" name="Прямоугольник 61"/>
            <p:cNvSpPr/>
            <p:nvPr/>
          </p:nvSpPr>
          <p:spPr>
            <a:xfrm>
              <a:off x="9294811" y="2930586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3" name="Прямоугольник 62"/>
            <p:cNvSpPr/>
            <p:nvPr/>
          </p:nvSpPr>
          <p:spPr>
            <a:xfrm>
              <a:off x="9294811" y="3804504"/>
              <a:ext cx="377590" cy="43815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64" name="Прямоугольник 63"/>
            <p:cNvSpPr/>
            <p:nvPr/>
          </p:nvSpPr>
          <p:spPr>
            <a:xfrm>
              <a:off x="9294811" y="4242654"/>
              <a:ext cx="377590" cy="43815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31</a:t>
              </a:r>
            </a:p>
          </p:txBody>
        </p:sp>
        <p:cxnSp>
          <p:nvCxnSpPr>
            <p:cNvPr id="65" name="Прямая соединительная линия 64"/>
            <p:cNvCxnSpPr/>
            <p:nvPr/>
          </p:nvCxnSpPr>
          <p:spPr bwMode="auto">
            <a:xfrm>
              <a:off x="9791817" y="444500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cxnSp>
        <p:nvCxnSpPr>
          <p:cNvPr id="38" name="Прямая соединительная линия 37"/>
          <p:cNvCxnSpPr>
            <a:endCxn id="40" idx="3"/>
          </p:cNvCxnSpPr>
          <p:nvPr/>
        </p:nvCxnSpPr>
        <p:spPr bwMode="auto">
          <a:xfrm flipH="1" flipV="1">
            <a:off x="6163389" y="6162882"/>
            <a:ext cx="3731012" cy="46169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9" name="Прямая соединительная линия 38"/>
          <p:cNvCxnSpPr>
            <a:endCxn id="40" idx="1"/>
          </p:cNvCxnSpPr>
          <p:nvPr/>
        </p:nvCxnSpPr>
        <p:spPr bwMode="auto">
          <a:xfrm flipV="1">
            <a:off x="-903" y="6162882"/>
            <a:ext cx="4218503" cy="46169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0" name="TextBox 39"/>
          <p:cNvSpPr txBox="1"/>
          <p:nvPr/>
        </p:nvSpPr>
        <p:spPr>
          <a:xfrm>
            <a:off x="4217600" y="6024382"/>
            <a:ext cx="194578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b="1" dirty="0">
                <a:solidFill>
                  <a:schemeClr val="accent1"/>
                </a:solidFill>
              </a:rPr>
              <a:t>ПАО «СИБУР Холдинг»</a:t>
            </a:r>
          </a:p>
        </p:txBody>
      </p:sp>
      <p:sp>
        <p:nvSpPr>
          <p:cNvPr id="41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251000" y="3848183"/>
            <a:ext cx="5357820" cy="1032429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</a:t>
            </a:r>
            <a:r>
              <a:rPr lang="ru-RU" dirty="0" smtClean="0"/>
              <a:t>Фамилия</a:t>
            </a:r>
            <a:br>
              <a:rPr lang="ru-RU" dirty="0" smtClean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Компания </a:t>
            </a:r>
            <a:r>
              <a:rPr lang="ru-RU" dirty="0"/>
              <a:t>/ функция / направление</a:t>
            </a:r>
          </a:p>
        </p:txBody>
      </p:sp>
      <p:sp>
        <p:nvSpPr>
          <p:cNvPr id="42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4251002" y="5194390"/>
            <a:ext cx="5350757" cy="68168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</a:t>
            </a:r>
            <a:r>
              <a:rPr lang="ru-RU" dirty="0" smtClean="0"/>
              <a:t>мероприятия</a:t>
            </a:r>
            <a:br>
              <a:rPr lang="ru-RU" dirty="0" smtClean="0"/>
            </a:br>
            <a:r>
              <a:rPr lang="ru-RU" dirty="0" smtClean="0"/>
              <a:t>Дата </a:t>
            </a:r>
            <a:r>
              <a:rPr lang="ru-RU" dirty="0"/>
              <a:t>проведения</a:t>
            </a:r>
          </a:p>
        </p:txBody>
      </p:sp>
      <p:sp>
        <p:nvSpPr>
          <p:cNvPr id="4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251000" y="1544017"/>
            <a:ext cx="5373979" cy="196126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44" name="Изображение 2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6644" y="1147365"/>
            <a:ext cx="3284700" cy="4437226"/>
          </a:xfrm>
          <a:prstGeom prst="rect">
            <a:avLst/>
          </a:prstGeom>
        </p:spPr>
      </p:pic>
      <p:pic>
        <p:nvPicPr>
          <p:cNvPr id="32" name="Picture 31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6773" y="460784"/>
            <a:ext cx="1085631" cy="20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986125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колонки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Текст 8"/>
          <p:cNvSpPr>
            <a:spLocks noGrp="1"/>
          </p:cNvSpPr>
          <p:nvPr>
            <p:ph type="body" sz="quarter" idx="22"/>
          </p:nvPr>
        </p:nvSpPr>
        <p:spPr>
          <a:xfrm>
            <a:off x="5056636" y="1803401"/>
            <a:ext cx="4576365" cy="4409017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21"/>
          </p:nvPr>
        </p:nvSpPr>
        <p:spPr>
          <a:xfrm>
            <a:off x="276888" y="1803401"/>
            <a:ext cx="4576365" cy="4409017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5" name="Текст 2">
            <a:extLst>
              <a:ext uri="{FF2B5EF4-FFF2-40B4-BE49-F238E27FC236}">
                <a16:creationId xmlns:a16="http://schemas.microsoft.com/office/drawing/2014/main" id="{DC95F010-2C41-49B4-994C-8AE1F73A8DEE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76898" y="1091643"/>
            <a:ext cx="4575973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 smtClean="0"/>
              <a:t>Заголовок буллита</a:t>
            </a:r>
            <a:endParaRPr lang="ru-RU" dirty="0"/>
          </a:p>
        </p:txBody>
      </p:sp>
      <p:sp>
        <p:nvSpPr>
          <p:cNvPr id="16" name="Текст 2">
            <a:extLst>
              <a:ext uri="{FF2B5EF4-FFF2-40B4-BE49-F238E27FC236}">
                <a16:creationId xmlns:a16="http://schemas.microsoft.com/office/drawing/2014/main" id="{776C387D-3753-4B75-92C6-5D3702D41529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057028" y="1091643"/>
            <a:ext cx="4575973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 smtClean="0"/>
              <a:t>Заголовок булли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163307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диаграммы и комментар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71727" y="4404785"/>
            <a:ext cx="4576366" cy="1807633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Диаграмма 13"/>
          <p:cNvSpPr>
            <a:spLocks noGrp="1"/>
          </p:cNvSpPr>
          <p:nvPr>
            <p:ph type="chart" sz="quarter" idx="18" hasCustomPrompt="1"/>
          </p:nvPr>
        </p:nvSpPr>
        <p:spPr>
          <a:xfrm>
            <a:off x="276888" y="1818168"/>
            <a:ext cx="4576365" cy="2457449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5" name="Диаграмма 13"/>
          <p:cNvSpPr>
            <a:spLocks noGrp="1"/>
          </p:cNvSpPr>
          <p:nvPr>
            <p:ph type="chart" sz="quarter" idx="19" hasCustomPrompt="1"/>
          </p:nvPr>
        </p:nvSpPr>
        <p:spPr>
          <a:xfrm>
            <a:off x="5056636" y="1818168"/>
            <a:ext cx="4576365" cy="2457449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76898" y="1091643"/>
            <a:ext cx="4575973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5057028" y="1091643"/>
            <a:ext cx="4575973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56635" y="4404785"/>
            <a:ext cx="4576366" cy="1807633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36608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фото и комментари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Рисунок 10"/>
          <p:cNvSpPr>
            <a:spLocks noGrp="1"/>
          </p:cNvSpPr>
          <p:nvPr>
            <p:ph type="pic" sz="quarter" idx="17" hasCustomPrompt="1"/>
          </p:nvPr>
        </p:nvSpPr>
        <p:spPr>
          <a:xfrm>
            <a:off x="276888" y="1689977"/>
            <a:ext cx="4576365" cy="2507605"/>
          </a:xfrm>
        </p:spPr>
        <p:txBody>
          <a:bodyPr/>
          <a:lstStyle/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18" hasCustomPrompt="1"/>
          </p:nvPr>
        </p:nvSpPr>
        <p:spPr>
          <a:xfrm>
            <a:off x="5056636" y="1689977"/>
            <a:ext cx="4576365" cy="2507605"/>
          </a:xfrm>
        </p:spPr>
        <p:txBody>
          <a:bodyPr/>
          <a:lstStyle/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71727" y="4197582"/>
            <a:ext cx="4576366" cy="2014836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56635" y="4197582"/>
            <a:ext cx="4576366" cy="2014836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Текст 2"/>
          <p:cNvSpPr>
            <a:spLocks noGrp="1"/>
          </p:cNvSpPr>
          <p:nvPr>
            <p:ph type="body" idx="23" hasCustomPrompt="1"/>
          </p:nvPr>
        </p:nvSpPr>
        <p:spPr>
          <a:xfrm>
            <a:off x="276898" y="1091643"/>
            <a:ext cx="4575973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 smtClean="0"/>
              <a:t>Заголовок буллита</a:t>
            </a:r>
            <a:endParaRPr lang="ru-RU" dirty="0"/>
          </a:p>
        </p:txBody>
      </p:sp>
      <p:sp>
        <p:nvSpPr>
          <p:cNvPr id="15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5057028" y="1091643"/>
            <a:ext cx="4575973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 smtClean="0"/>
              <a:t>Заголовок булли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842884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булли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71727" y="1689978"/>
            <a:ext cx="4576366" cy="1891675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056635" y="1689978"/>
            <a:ext cx="4576366" cy="1891675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BFA30B58-DF39-4E63-A5FB-791EAA37820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271727" y="4356267"/>
            <a:ext cx="4576366" cy="1856152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56635" y="4356267"/>
            <a:ext cx="4576366" cy="1856152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4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76898" y="1091643"/>
            <a:ext cx="4575973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 smtClean="0"/>
              <a:t>Заголовок буллита</a:t>
            </a:r>
            <a:endParaRPr lang="ru-RU" dirty="0"/>
          </a:p>
        </p:txBody>
      </p:sp>
      <p:sp>
        <p:nvSpPr>
          <p:cNvPr id="15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5057028" y="1091643"/>
            <a:ext cx="4575973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 smtClean="0"/>
              <a:t>Заголовок буллита</a:t>
            </a:r>
            <a:endParaRPr lang="ru-RU" dirty="0"/>
          </a:p>
        </p:txBody>
      </p:sp>
      <p:sp>
        <p:nvSpPr>
          <p:cNvPr id="16" name="Текст 2"/>
          <p:cNvSpPr>
            <a:spLocks noGrp="1"/>
          </p:cNvSpPr>
          <p:nvPr>
            <p:ph type="body" idx="25" hasCustomPrompt="1"/>
          </p:nvPr>
        </p:nvSpPr>
        <p:spPr>
          <a:xfrm>
            <a:off x="271727" y="3757932"/>
            <a:ext cx="4575973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 smtClean="0"/>
              <a:t>Заголовок буллита</a:t>
            </a:r>
            <a:endParaRPr lang="ru-RU" dirty="0"/>
          </a:p>
        </p:txBody>
      </p:sp>
      <p:sp>
        <p:nvSpPr>
          <p:cNvPr id="17" name="Текст 2"/>
          <p:cNvSpPr>
            <a:spLocks noGrp="1"/>
          </p:cNvSpPr>
          <p:nvPr>
            <p:ph type="body" idx="26" hasCustomPrompt="1"/>
          </p:nvPr>
        </p:nvSpPr>
        <p:spPr>
          <a:xfrm>
            <a:off x="5051857" y="3757932"/>
            <a:ext cx="4575973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 smtClean="0"/>
              <a:t>Заголовок булли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771482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буллита с икон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0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76900" y="1096248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1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276900" y="3719381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5058300" y="1096248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3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5058300" y="3719381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D4377472-2581-4B39-80AE-581E00F8559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276887" y="4220692"/>
            <a:ext cx="4576366" cy="1807633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10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8B92BB08-C89E-41B5-A110-42DDF113B6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056635" y="4220692"/>
            <a:ext cx="4576366" cy="1807633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10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2D5CA91E-9AC8-4158-AA35-A1935E3551E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6887" y="1597558"/>
            <a:ext cx="4576366" cy="1807633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10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05B00560-4053-45AA-85D0-1C55BA3D54D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056635" y="1597558"/>
            <a:ext cx="4576366" cy="1807633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10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8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838200" y="1091643"/>
            <a:ext cx="4014671" cy="484939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 smtClean="0"/>
              <a:t>Заголовок буллита</a:t>
            </a:r>
            <a:endParaRPr lang="ru-RU" dirty="0"/>
          </a:p>
        </p:txBody>
      </p:sp>
      <p:sp>
        <p:nvSpPr>
          <p:cNvPr id="19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5618330" y="1091643"/>
            <a:ext cx="4014671" cy="484939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 smtClean="0"/>
              <a:t>Заголовок буллита</a:t>
            </a:r>
            <a:endParaRPr lang="ru-RU" dirty="0"/>
          </a:p>
        </p:txBody>
      </p:sp>
      <p:sp>
        <p:nvSpPr>
          <p:cNvPr id="20" name="Текст 2"/>
          <p:cNvSpPr>
            <a:spLocks noGrp="1"/>
          </p:cNvSpPr>
          <p:nvPr>
            <p:ph type="body" idx="29" hasCustomPrompt="1"/>
          </p:nvPr>
        </p:nvSpPr>
        <p:spPr>
          <a:xfrm>
            <a:off x="833029" y="3714442"/>
            <a:ext cx="4014671" cy="484939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 smtClean="0"/>
              <a:t>Заголовок буллита</a:t>
            </a:r>
            <a:endParaRPr lang="ru-RU" dirty="0"/>
          </a:p>
        </p:txBody>
      </p:sp>
      <p:sp>
        <p:nvSpPr>
          <p:cNvPr id="21" name="Текст 2"/>
          <p:cNvSpPr>
            <a:spLocks noGrp="1"/>
          </p:cNvSpPr>
          <p:nvPr>
            <p:ph type="body" idx="30" hasCustomPrompt="1"/>
          </p:nvPr>
        </p:nvSpPr>
        <p:spPr>
          <a:xfrm>
            <a:off x="5613159" y="3714442"/>
            <a:ext cx="4014671" cy="484939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 smtClean="0"/>
              <a:t>Заголовок булли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90612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иконками 2 столб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35" name="Рисунок 14">
            <a:extLst>
              <a:ext uri="{FF2B5EF4-FFF2-40B4-BE49-F238E27FC236}">
                <a16:creationId xmlns:a16="http://schemas.microsoft.com/office/drawing/2014/main" id="{5ACD6DB4-4E35-4BB8-8994-407B920DEDB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276900" y="1431781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1DB96461-00C9-4618-B085-BC875E29CDA8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58381" y="1334690"/>
            <a:ext cx="3823920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7" name="Рисунок 14">
            <a:extLst>
              <a:ext uri="{FF2B5EF4-FFF2-40B4-BE49-F238E27FC236}">
                <a16:creationId xmlns:a16="http://schemas.microsoft.com/office/drawing/2014/main" id="{4CE4A8B4-2328-4C2C-A1F8-423D71774767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276900" y="2145563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B1AEF316-0FE1-4213-A402-302C31640C84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58381" y="2048471"/>
            <a:ext cx="3823920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9" name="Рисунок 14">
            <a:extLst>
              <a:ext uri="{FF2B5EF4-FFF2-40B4-BE49-F238E27FC236}">
                <a16:creationId xmlns:a16="http://schemas.microsoft.com/office/drawing/2014/main" id="{64CD6F6C-3BD6-4982-9A80-480DEEF6FE94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276900" y="2865053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2E2D9583-6670-486A-A170-4B7E3AAD45D0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58381" y="2767962"/>
            <a:ext cx="3823920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1" name="Рисунок 14">
            <a:extLst>
              <a:ext uri="{FF2B5EF4-FFF2-40B4-BE49-F238E27FC236}">
                <a16:creationId xmlns:a16="http://schemas.microsoft.com/office/drawing/2014/main" id="{B2679DE3-113C-45B0-9FBB-84C80D90A2FD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276900" y="3584544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DC34E2AE-DCD6-46D1-A1D1-59D432907686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58381" y="3487452"/>
            <a:ext cx="3823920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3" name="Рисунок 14">
            <a:extLst>
              <a:ext uri="{FF2B5EF4-FFF2-40B4-BE49-F238E27FC236}">
                <a16:creationId xmlns:a16="http://schemas.microsoft.com/office/drawing/2014/main" id="{95B65BCB-FAFB-4949-9DA5-6DD965EF5DDE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276900" y="4304035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DF6D2344-1F01-4E57-B29B-777B243901A7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58381" y="4206943"/>
            <a:ext cx="3823920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5" name="Рисунок 14">
            <a:extLst>
              <a:ext uri="{FF2B5EF4-FFF2-40B4-BE49-F238E27FC236}">
                <a16:creationId xmlns:a16="http://schemas.microsoft.com/office/drawing/2014/main" id="{B338637A-8816-44B7-BB19-C9702D023FBC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276900" y="5023525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D970B49F-E8D0-42E9-906A-E1BE3761811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58381" y="4926434"/>
            <a:ext cx="3823920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7" name="Рисунок 14">
            <a:extLst>
              <a:ext uri="{FF2B5EF4-FFF2-40B4-BE49-F238E27FC236}">
                <a16:creationId xmlns:a16="http://schemas.microsoft.com/office/drawing/2014/main" id="{DEB00967-6AE4-4995-9A85-2356A9A4899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276900" y="5743016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8" name="Text Placeholder 7">
            <a:extLst>
              <a:ext uri="{FF2B5EF4-FFF2-40B4-BE49-F238E27FC236}">
                <a16:creationId xmlns:a16="http://schemas.microsoft.com/office/drawing/2014/main" id="{A098F644-4A32-41C9-AB95-DC7B1A2CBBAC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858381" y="5645925"/>
            <a:ext cx="3823920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9" name="Рисунок 14">
            <a:extLst>
              <a:ext uri="{FF2B5EF4-FFF2-40B4-BE49-F238E27FC236}">
                <a16:creationId xmlns:a16="http://schemas.microsoft.com/office/drawing/2014/main" id="{52790202-17E3-482C-BBC7-0FDC08AA8D93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5223701" y="1431781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0" name="Text Placeholder 7">
            <a:extLst>
              <a:ext uri="{FF2B5EF4-FFF2-40B4-BE49-F238E27FC236}">
                <a16:creationId xmlns:a16="http://schemas.microsoft.com/office/drawing/2014/main" id="{0596A83C-CB24-431E-B6CA-8EAEEF87F2BC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805182" y="1334690"/>
            <a:ext cx="3823920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1" name="Рисунок 14">
            <a:extLst>
              <a:ext uri="{FF2B5EF4-FFF2-40B4-BE49-F238E27FC236}">
                <a16:creationId xmlns:a16="http://schemas.microsoft.com/office/drawing/2014/main" id="{98CCCF76-0F0D-4468-B476-98F7E5F193DB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5223701" y="2145563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2" name="Text Placeholder 7">
            <a:extLst>
              <a:ext uri="{FF2B5EF4-FFF2-40B4-BE49-F238E27FC236}">
                <a16:creationId xmlns:a16="http://schemas.microsoft.com/office/drawing/2014/main" id="{BA14B70F-4E5F-4E68-A232-DB29D9482509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5805182" y="2048471"/>
            <a:ext cx="3823920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3" name="Рисунок 14">
            <a:extLst>
              <a:ext uri="{FF2B5EF4-FFF2-40B4-BE49-F238E27FC236}">
                <a16:creationId xmlns:a16="http://schemas.microsoft.com/office/drawing/2014/main" id="{B12EAE96-E1E7-4AEA-BE1F-929DC6D7DACD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5223701" y="2865053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4" name="Text Placeholder 7">
            <a:extLst>
              <a:ext uri="{FF2B5EF4-FFF2-40B4-BE49-F238E27FC236}">
                <a16:creationId xmlns:a16="http://schemas.microsoft.com/office/drawing/2014/main" id="{A9563D9A-CED2-4ECA-8A37-BF67DAC51F47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5805182" y="2767962"/>
            <a:ext cx="3823920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5" name="Рисунок 14">
            <a:extLst>
              <a:ext uri="{FF2B5EF4-FFF2-40B4-BE49-F238E27FC236}">
                <a16:creationId xmlns:a16="http://schemas.microsoft.com/office/drawing/2014/main" id="{F9F1D5B1-7350-461F-BEC4-A02D9209AAC8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5223701" y="3584544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6" name="Text Placeholder 7">
            <a:extLst>
              <a:ext uri="{FF2B5EF4-FFF2-40B4-BE49-F238E27FC236}">
                <a16:creationId xmlns:a16="http://schemas.microsoft.com/office/drawing/2014/main" id="{0FB3655B-D02C-4974-B8BB-52053EF46FA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5805182" y="3487452"/>
            <a:ext cx="3823920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7" name="Рисунок 14">
            <a:extLst>
              <a:ext uri="{FF2B5EF4-FFF2-40B4-BE49-F238E27FC236}">
                <a16:creationId xmlns:a16="http://schemas.microsoft.com/office/drawing/2014/main" id="{DE3ECA66-605C-4EA2-80FD-5D3DD5A9751C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5223701" y="4304035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8" name="Text Placeholder 7">
            <a:extLst>
              <a:ext uri="{FF2B5EF4-FFF2-40B4-BE49-F238E27FC236}">
                <a16:creationId xmlns:a16="http://schemas.microsoft.com/office/drawing/2014/main" id="{EDA554DC-64B4-4829-893F-1BE738AADB2B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5805182" y="4206943"/>
            <a:ext cx="3823920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9" name="Рисунок 14">
            <a:extLst>
              <a:ext uri="{FF2B5EF4-FFF2-40B4-BE49-F238E27FC236}">
                <a16:creationId xmlns:a16="http://schemas.microsoft.com/office/drawing/2014/main" id="{FC35F83D-02DD-4749-A458-B5EBA5DEC17D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5223701" y="5023525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60" name="Text Placeholder 7">
            <a:extLst>
              <a:ext uri="{FF2B5EF4-FFF2-40B4-BE49-F238E27FC236}">
                <a16:creationId xmlns:a16="http://schemas.microsoft.com/office/drawing/2014/main" id="{B76B11AD-817F-47DD-B055-F17D2333517A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5805182" y="4926434"/>
            <a:ext cx="3823920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1" name="Рисунок 14">
            <a:extLst>
              <a:ext uri="{FF2B5EF4-FFF2-40B4-BE49-F238E27FC236}">
                <a16:creationId xmlns:a16="http://schemas.microsoft.com/office/drawing/2014/main" id="{D6937FE5-2DC9-467B-B2CB-1E208EC03460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5223701" y="5743016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62" name="Text Placeholder 7">
            <a:extLst>
              <a:ext uri="{FF2B5EF4-FFF2-40B4-BE49-F238E27FC236}">
                <a16:creationId xmlns:a16="http://schemas.microsoft.com/office/drawing/2014/main" id="{30E2FE77-DADE-42E6-BD8F-386BE6C5C239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805182" y="5645925"/>
            <a:ext cx="3823920" cy="653863"/>
          </a:xfrm>
        </p:spPr>
        <p:txBody>
          <a:bodyPr anchor="ctr"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7" indent="0">
              <a:buNone/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9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8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9523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ольшое фото снизу + текст в две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76898" y="1689977"/>
            <a:ext cx="4601804" cy="2475623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046576" y="1689978"/>
            <a:ext cx="4601804" cy="2475623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6900" y="272720"/>
            <a:ext cx="9371479" cy="7056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4165600"/>
            <a:ext cx="9906000" cy="26924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1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76898" y="1091643"/>
            <a:ext cx="4575973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 smtClean="0"/>
              <a:t>Заголовок буллита</a:t>
            </a:r>
            <a:endParaRPr lang="ru-RU" dirty="0"/>
          </a:p>
        </p:txBody>
      </p:sp>
      <p:sp>
        <p:nvSpPr>
          <p:cNvPr id="12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5057028" y="1091643"/>
            <a:ext cx="4575973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 smtClean="0"/>
              <a:t>Заголовок буллит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10521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2х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4797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31"/>
          </p:nvPr>
        </p:nvSpPr>
        <p:spPr>
          <a:xfrm>
            <a:off x="276225" y="1091643"/>
            <a:ext cx="4572000" cy="2527857"/>
          </a:xfrm>
        </p:spPr>
        <p:txBody>
          <a:bodyPr/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22" name="Content Placeholder 6"/>
          <p:cNvSpPr>
            <a:spLocks noGrp="1"/>
          </p:cNvSpPr>
          <p:nvPr>
            <p:ph sz="quarter" idx="32"/>
          </p:nvPr>
        </p:nvSpPr>
        <p:spPr>
          <a:xfrm>
            <a:off x="276225" y="3693999"/>
            <a:ext cx="4572000" cy="2527857"/>
          </a:xfrm>
        </p:spPr>
        <p:txBody>
          <a:bodyPr/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3" name="Content Placeholder 6"/>
          <p:cNvSpPr>
            <a:spLocks noGrp="1"/>
          </p:cNvSpPr>
          <p:nvPr>
            <p:ph sz="quarter" idx="33"/>
          </p:nvPr>
        </p:nvSpPr>
        <p:spPr>
          <a:xfrm>
            <a:off x="5050661" y="1091643"/>
            <a:ext cx="4572000" cy="2527857"/>
          </a:xfrm>
        </p:spPr>
        <p:txBody>
          <a:bodyPr/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4" name="Content Placeholder 6"/>
          <p:cNvSpPr>
            <a:spLocks noGrp="1"/>
          </p:cNvSpPr>
          <p:nvPr>
            <p:ph sz="quarter" idx="34"/>
          </p:nvPr>
        </p:nvSpPr>
        <p:spPr>
          <a:xfrm>
            <a:off x="5050661" y="3693999"/>
            <a:ext cx="4572000" cy="2527857"/>
          </a:xfrm>
        </p:spPr>
        <p:txBody>
          <a:bodyPr/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63109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2х2 с заголовками коло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5821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31"/>
          </p:nvPr>
        </p:nvSpPr>
        <p:spPr>
          <a:xfrm>
            <a:off x="276225" y="1597025"/>
            <a:ext cx="4572000" cy="2372765"/>
          </a:xfrm>
        </p:spPr>
        <p:txBody>
          <a:bodyPr/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8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76226" y="1091643"/>
            <a:ext cx="4576646" cy="484939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 smtClean="0"/>
              <a:t>Заголовок буллита</a:t>
            </a:r>
            <a:endParaRPr lang="ru-RU" dirty="0"/>
          </a:p>
        </p:txBody>
      </p:sp>
      <p:sp>
        <p:nvSpPr>
          <p:cNvPr id="19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5056356" y="1091643"/>
            <a:ext cx="4576646" cy="484939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 smtClean="0"/>
              <a:t>Заголовок буллита</a:t>
            </a:r>
            <a:endParaRPr lang="ru-RU" dirty="0"/>
          </a:p>
        </p:txBody>
      </p:sp>
      <p:sp>
        <p:nvSpPr>
          <p:cNvPr id="22" name="Content Placeholder 6"/>
          <p:cNvSpPr>
            <a:spLocks noGrp="1"/>
          </p:cNvSpPr>
          <p:nvPr>
            <p:ph sz="quarter" idx="32"/>
          </p:nvPr>
        </p:nvSpPr>
        <p:spPr>
          <a:xfrm>
            <a:off x="276225" y="3964968"/>
            <a:ext cx="4572000" cy="2372765"/>
          </a:xfrm>
        </p:spPr>
        <p:txBody>
          <a:bodyPr/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3" name="Content Placeholder 6"/>
          <p:cNvSpPr>
            <a:spLocks noGrp="1"/>
          </p:cNvSpPr>
          <p:nvPr>
            <p:ph sz="quarter" idx="33"/>
          </p:nvPr>
        </p:nvSpPr>
        <p:spPr>
          <a:xfrm>
            <a:off x="5050661" y="1597025"/>
            <a:ext cx="4572000" cy="2372765"/>
          </a:xfrm>
        </p:spPr>
        <p:txBody>
          <a:bodyPr/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4" name="Content Placeholder 6"/>
          <p:cNvSpPr>
            <a:spLocks noGrp="1"/>
          </p:cNvSpPr>
          <p:nvPr>
            <p:ph sz="quarter" idx="34"/>
          </p:nvPr>
        </p:nvSpPr>
        <p:spPr>
          <a:xfrm>
            <a:off x="5050661" y="3964968"/>
            <a:ext cx="4572000" cy="2372765"/>
          </a:xfrm>
        </p:spPr>
        <p:txBody>
          <a:bodyPr/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94430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2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13867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6845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Content Placeholder 6"/>
          <p:cNvSpPr>
            <a:spLocks noGrp="1"/>
          </p:cNvSpPr>
          <p:nvPr>
            <p:ph sz="quarter" idx="31"/>
          </p:nvPr>
        </p:nvSpPr>
        <p:spPr>
          <a:xfrm>
            <a:off x="276225" y="1597025"/>
            <a:ext cx="4572000" cy="2022475"/>
          </a:xfrm>
        </p:spPr>
        <p:txBody>
          <a:bodyPr/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8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76226" y="1091643"/>
            <a:ext cx="4576646" cy="484939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 smtClean="0"/>
              <a:t>Заголовок буллита</a:t>
            </a:r>
            <a:endParaRPr lang="ru-RU" dirty="0"/>
          </a:p>
        </p:txBody>
      </p:sp>
      <p:sp>
        <p:nvSpPr>
          <p:cNvPr id="19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5056356" y="1091643"/>
            <a:ext cx="4576646" cy="484939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 smtClean="0"/>
              <a:t>Заголовок буллита</a:t>
            </a:r>
            <a:endParaRPr lang="ru-RU" dirty="0"/>
          </a:p>
        </p:txBody>
      </p:sp>
      <p:sp>
        <p:nvSpPr>
          <p:cNvPr id="20" name="Текст 2"/>
          <p:cNvSpPr>
            <a:spLocks noGrp="1"/>
          </p:cNvSpPr>
          <p:nvPr>
            <p:ph type="body" idx="29" hasCustomPrompt="1"/>
          </p:nvPr>
        </p:nvSpPr>
        <p:spPr>
          <a:xfrm>
            <a:off x="271055" y="3714442"/>
            <a:ext cx="4576646" cy="484939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 smtClean="0"/>
              <a:t>Заголовок буллита</a:t>
            </a:r>
            <a:endParaRPr lang="ru-RU" dirty="0"/>
          </a:p>
        </p:txBody>
      </p:sp>
      <p:sp>
        <p:nvSpPr>
          <p:cNvPr id="21" name="Текст 2"/>
          <p:cNvSpPr>
            <a:spLocks noGrp="1"/>
          </p:cNvSpPr>
          <p:nvPr>
            <p:ph type="body" idx="30" hasCustomPrompt="1"/>
          </p:nvPr>
        </p:nvSpPr>
        <p:spPr>
          <a:xfrm>
            <a:off x="5051185" y="3714442"/>
            <a:ext cx="4576646" cy="484939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 smtClean="0"/>
              <a:t>Заголовок буллита</a:t>
            </a:r>
            <a:endParaRPr lang="ru-RU" dirty="0"/>
          </a:p>
        </p:txBody>
      </p:sp>
      <p:sp>
        <p:nvSpPr>
          <p:cNvPr id="22" name="Content Placeholder 6"/>
          <p:cNvSpPr>
            <a:spLocks noGrp="1"/>
          </p:cNvSpPr>
          <p:nvPr>
            <p:ph sz="quarter" idx="32"/>
          </p:nvPr>
        </p:nvSpPr>
        <p:spPr>
          <a:xfrm>
            <a:off x="276225" y="4199381"/>
            <a:ext cx="4572000" cy="2022475"/>
          </a:xfrm>
        </p:spPr>
        <p:txBody>
          <a:bodyPr/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3" name="Content Placeholder 6"/>
          <p:cNvSpPr>
            <a:spLocks noGrp="1"/>
          </p:cNvSpPr>
          <p:nvPr>
            <p:ph sz="quarter" idx="33"/>
          </p:nvPr>
        </p:nvSpPr>
        <p:spPr>
          <a:xfrm>
            <a:off x="5050661" y="1597025"/>
            <a:ext cx="4572000" cy="2022475"/>
          </a:xfrm>
        </p:spPr>
        <p:txBody>
          <a:bodyPr/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4" name="Content Placeholder 6"/>
          <p:cNvSpPr>
            <a:spLocks noGrp="1"/>
          </p:cNvSpPr>
          <p:nvPr>
            <p:ph sz="quarter" idx="34"/>
          </p:nvPr>
        </p:nvSpPr>
        <p:spPr>
          <a:xfrm>
            <a:off x="5050661" y="4199381"/>
            <a:ext cx="4572000" cy="2022475"/>
          </a:xfrm>
        </p:spPr>
        <p:txBody>
          <a:bodyPr/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42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фоновое фото">
    <p:bg>
      <p:bgPr>
        <a:blipFill dpi="0" rotWithShape="1">
          <a:blip r:embed="rId5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9429081"/>
              </p:ext>
            </p:ext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48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 bwMode="auto">
          <a:xfrm>
            <a:off x="0" y="0"/>
            <a:ext cx="9906000" cy="6859200"/>
          </a:xfrm>
          <a:prstGeom prst="rect">
            <a:avLst/>
          </a:prstGeom>
          <a:gradFill>
            <a:gsLst>
              <a:gs pos="2020">
                <a:schemeClr val="accent1">
                  <a:alpha val="85000"/>
                </a:schemeClr>
              </a:gs>
              <a:gs pos="35000">
                <a:srgbClr val="008C95">
                  <a:alpha val="55000"/>
                </a:srgbClr>
              </a:gs>
              <a:gs pos="74000">
                <a:schemeClr val="accent1">
                  <a:alpha val="36000"/>
                </a:schemeClr>
              </a:gs>
              <a:gs pos="100000">
                <a:schemeClr val="accent1">
                  <a:alpha val="10000"/>
                </a:schemeClr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395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9938897" y="4"/>
            <a:ext cx="3013327" cy="6857999"/>
          </a:xfrm>
          <a:prstGeom prst="rect">
            <a:avLst/>
          </a:prstGeom>
          <a:solidFill>
            <a:srgbClr val="2D8797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10019846" y="91099"/>
            <a:ext cx="409056" cy="582612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cxnSp>
        <p:nvCxnSpPr>
          <p:cNvPr id="86" name="Прямая соединительная линия 85"/>
          <p:cNvCxnSpPr/>
          <p:nvPr/>
        </p:nvCxnSpPr>
        <p:spPr bwMode="auto">
          <a:xfrm>
            <a:off x="10558274" y="592667"/>
            <a:ext cx="222197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0" name="Прямоугольник 29"/>
          <p:cNvSpPr/>
          <p:nvPr/>
        </p:nvSpPr>
        <p:spPr>
          <a:xfrm>
            <a:off x="10019846" y="1256321"/>
            <a:ext cx="409056" cy="58420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10019846" y="673712"/>
            <a:ext cx="409056" cy="582613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10019846" y="4490076"/>
            <a:ext cx="409056" cy="582613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10019846" y="2164372"/>
            <a:ext cx="409056" cy="58420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10019846" y="2742223"/>
            <a:ext cx="409056" cy="582612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10019846" y="3324840"/>
            <a:ext cx="409056" cy="582613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10019846" y="39074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10019846" y="5072672"/>
            <a:ext cx="409056" cy="58420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10019846" y="5656872"/>
            <a:ext cx="409056" cy="58420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10019849" y="1256321"/>
            <a:ext cx="409056" cy="58420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10019849" y="673712"/>
            <a:ext cx="409056" cy="582613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10019849" y="4490080"/>
            <a:ext cx="409056" cy="582613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10019849" y="2164372"/>
            <a:ext cx="409056" cy="58420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10019849" y="2742223"/>
            <a:ext cx="409056" cy="582612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10019849" y="3324840"/>
            <a:ext cx="409056" cy="582613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10019849" y="39074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10019849" y="5072672"/>
            <a:ext cx="409056" cy="58420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10019849" y="5656872"/>
            <a:ext cx="409056" cy="58420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138724" y="1867327"/>
            <a:ext cx="7817951" cy="1922356"/>
          </a:xfrm>
          <a:effectLst/>
        </p:spPr>
        <p:txBody>
          <a:bodyPr>
            <a:normAutofit/>
          </a:bodyPr>
          <a:lstStyle>
            <a:lvl1pPr>
              <a:defRPr lang="ru-RU" sz="32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53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1138505" y="4199683"/>
            <a:ext cx="7818171" cy="1056000"/>
          </a:xfr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Имя </a:t>
            </a:r>
            <a:r>
              <a:rPr lang="ru-RU" dirty="0" smtClean="0"/>
              <a:t>Фамилия</a:t>
            </a:r>
            <a:br>
              <a:rPr lang="ru-RU" dirty="0" smtClean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Компания </a:t>
            </a:r>
            <a:r>
              <a:rPr lang="ru-RU" dirty="0"/>
              <a:t>/ функция / направление</a:t>
            </a:r>
          </a:p>
        </p:txBody>
      </p:sp>
      <p:sp>
        <p:nvSpPr>
          <p:cNvPr id="54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1138504" y="5521072"/>
            <a:ext cx="7818171" cy="720000"/>
          </a:xfr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</a:t>
            </a:r>
            <a:r>
              <a:rPr lang="ru-RU" dirty="0" smtClean="0"/>
              <a:t>мероприятия</a:t>
            </a:r>
            <a:br>
              <a:rPr lang="ru-RU" dirty="0" smtClean="0"/>
            </a:br>
            <a:r>
              <a:rPr lang="ru-RU" dirty="0" smtClean="0"/>
              <a:t>Дата </a:t>
            </a:r>
            <a:r>
              <a:rPr lang="ru-RU" dirty="0"/>
              <a:t>проведения</a:t>
            </a:r>
          </a:p>
          <a:p>
            <a:pPr lvl="0"/>
            <a:endParaRPr lang="ru-RU" dirty="0"/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8" cstate="email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8504" y="460784"/>
            <a:ext cx="1085631" cy="20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02710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ольшое фото снизу + текст в три кол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472950" y="1710000"/>
            <a:ext cx="2979379" cy="2455600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76900" y="1710000"/>
            <a:ext cx="2979379" cy="2455600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669000" y="1710000"/>
            <a:ext cx="2979379" cy="2455600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6900" y="272720"/>
            <a:ext cx="9371479" cy="7056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4165600"/>
            <a:ext cx="9906000" cy="26924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472949" y="1111664"/>
            <a:ext cx="2964000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6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669000" y="1111664"/>
            <a:ext cx="2964000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276900" y="1111664"/>
            <a:ext cx="29757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30730779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раздела + заголовки + ик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1576218"/>
              </p:ext>
            </p:extLst>
          </p:nvPr>
        </p:nvGraphicFramePr>
        <p:xfrm>
          <a:off x="1599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620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9" y="160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11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472949" y="1624146"/>
            <a:ext cx="2964000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3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669000" y="1624146"/>
            <a:ext cx="2964000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76887" y="1124375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3472949" y="1124375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9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6669000" y="1124375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276900" y="1624146"/>
            <a:ext cx="29757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76900" y="2278645"/>
            <a:ext cx="2979379" cy="3932392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2949" y="2278645"/>
            <a:ext cx="2979379" cy="3932392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669000" y="2278645"/>
            <a:ext cx="2979379" cy="3932392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27171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диаграммы с комментар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76900" y="4400933"/>
            <a:ext cx="3007071" cy="1810104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50778" y="4400933"/>
            <a:ext cx="3007071" cy="1810104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624264" y="4400933"/>
            <a:ext cx="3007071" cy="1810104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Диаграмма 13"/>
          <p:cNvSpPr>
            <a:spLocks noGrp="1"/>
          </p:cNvSpPr>
          <p:nvPr>
            <p:ph type="chart" sz="quarter" idx="18" hasCustomPrompt="1"/>
          </p:nvPr>
        </p:nvSpPr>
        <p:spPr>
          <a:xfrm>
            <a:off x="276889" y="1746252"/>
            <a:ext cx="3008602" cy="2529365"/>
          </a:xfrm>
        </p:spPr>
        <p:txBody>
          <a:bodyPr/>
          <a:lstStyle>
            <a:lvl1pPr algn="l"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5" name="Диаграмма 13"/>
          <p:cNvSpPr>
            <a:spLocks noGrp="1"/>
          </p:cNvSpPr>
          <p:nvPr>
            <p:ph type="chart" sz="quarter" idx="19" hasCustomPrompt="1"/>
          </p:nvPr>
        </p:nvSpPr>
        <p:spPr>
          <a:xfrm>
            <a:off x="3450778" y="1746252"/>
            <a:ext cx="3008602" cy="2529365"/>
          </a:xfrm>
        </p:spPr>
        <p:txBody>
          <a:bodyPr/>
          <a:lstStyle>
            <a:lvl1pPr algn="l"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76900" y="1091643"/>
            <a:ext cx="3008344" cy="598335"/>
          </a:xfrm>
        </p:spPr>
        <p:txBody>
          <a:bodyPr anchor="b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  <p:sp>
        <p:nvSpPr>
          <p:cNvPr id="17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3450778" y="1091643"/>
            <a:ext cx="3008344" cy="598335"/>
          </a:xfrm>
        </p:spPr>
        <p:txBody>
          <a:bodyPr anchor="b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  <p:sp>
        <p:nvSpPr>
          <p:cNvPr id="13" name="Диаграмма 13"/>
          <p:cNvSpPr>
            <a:spLocks noGrp="1"/>
          </p:cNvSpPr>
          <p:nvPr>
            <p:ph type="chart" sz="quarter" idx="22" hasCustomPrompt="1"/>
          </p:nvPr>
        </p:nvSpPr>
        <p:spPr>
          <a:xfrm>
            <a:off x="6624264" y="1746252"/>
            <a:ext cx="3008602" cy="2529365"/>
          </a:xfrm>
        </p:spPr>
        <p:txBody>
          <a:bodyPr/>
          <a:lstStyle>
            <a:lvl1pPr algn="l"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Текст 2"/>
          <p:cNvSpPr>
            <a:spLocks noGrp="1"/>
          </p:cNvSpPr>
          <p:nvPr>
            <p:ph type="body" idx="23" hasCustomPrompt="1"/>
          </p:nvPr>
        </p:nvSpPr>
        <p:spPr>
          <a:xfrm>
            <a:off x="6624657" y="1091643"/>
            <a:ext cx="3008344" cy="598335"/>
          </a:xfrm>
        </p:spPr>
        <p:txBody>
          <a:bodyPr anchor="b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диаграммы</a:t>
            </a:r>
          </a:p>
        </p:txBody>
      </p:sp>
    </p:spTree>
    <p:extLst>
      <p:ext uri="{BB962C8B-B14F-4D97-AF65-F5344CB8AC3E}">
        <p14:creationId xmlns:p14="http://schemas.microsoft.com/office/powerpoint/2010/main" val="13868762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ото +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/>
          <p:cNvSpPr>
            <a:spLocks noGrp="1"/>
          </p:cNvSpPr>
          <p:nvPr>
            <p:ph type="pic" sz="quarter" idx="19" hasCustomPrompt="1"/>
          </p:nvPr>
        </p:nvSpPr>
        <p:spPr>
          <a:xfrm>
            <a:off x="276887" y="1754038"/>
            <a:ext cx="2963201" cy="26880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4" name="Рисунок 12"/>
          <p:cNvSpPr>
            <a:spLocks noGrp="1"/>
          </p:cNvSpPr>
          <p:nvPr>
            <p:ph type="pic" sz="quarter" idx="20" hasCustomPrompt="1"/>
          </p:nvPr>
        </p:nvSpPr>
        <p:spPr>
          <a:xfrm>
            <a:off x="3473749" y="1754038"/>
            <a:ext cx="2963201" cy="26880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2"/>
          <p:cNvSpPr>
            <a:spLocks noGrp="1"/>
          </p:cNvSpPr>
          <p:nvPr>
            <p:ph type="pic" sz="quarter" idx="21" hasCustomPrompt="1"/>
          </p:nvPr>
        </p:nvSpPr>
        <p:spPr>
          <a:xfrm>
            <a:off x="6669799" y="1754038"/>
            <a:ext cx="2963201" cy="2688000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76900" y="4444910"/>
            <a:ext cx="2979379" cy="1766128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2949" y="4444910"/>
            <a:ext cx="2979379" cy="1766128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669000" y="4444910"/>
            <a:ext cx="2979379" cy="1766128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8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472949" y="1123949"/>
            <a:ext cx="2964000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669000" y="1123949"/>
            <a:ext cx="2964000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276900" y="1123949"/>
            <a:ext cx="29757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37881907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Шесть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76900" y="1706226"/>
            <a:ext cx="2979379" cy="1918262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472949" y="1706226"/>
            <a:ext cx="2979379" cy="1918262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669000" y="1706226"/>
            <a:ext cx="2979379" cy="1918262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76900" y="4352391"/>
            <a:ext cx="2979379" cy="1858645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2949" y="4352391"/>
            <a:ext cx="2979379" cy="1858645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669000" y="4352391"/>
            <a:ext cx="2979379" cy="1858645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8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472949" y="1107891"/>
            <a:ext cx="2964000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669000" y="1107891"/>
            <a:ext cx="2964000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276900" y="1107891"/>
            <a:ext cx="29757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idx="38" hasCustomPrompt="1"/>
          </p:nvPr>
        </p:nvSpPr>
        <p:spPr>
          <a:xfrm>
            <a:off x="3472949" y="3754057"/>
            <a:ext cx="2964000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39" hasCustomPrompt="1"/>
          </p:nvPr>
        </p:nvSpPr>
        <p:spPr>
          <a:xfrm>
            <a:off x="6669000" y="3754057"/>
            <a:ext cx="2964000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idx="40" hasCustomPrompt="1"/>
          </p:nvPr>
        </p:nvSpPr>
        <p:spPr>
          <a:xfrm>
            <a:off x="276900" y="3754057"/>
            <a:ext cx="29757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30545265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Шесть буллитов + ик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76900" y="1615861"/>
            <a:ext cx="2979379" cy="2008627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472949" y="1615861"/>
            <a:ext cx="2979379" cy="2008627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669000" y="1615861"/>
            <a:ext cx="2979379" cy="2008627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76900" y="4249993"/>
            <a:ext cx="2979379" cy="1961043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2949" y="4249993"/>
            <a:ext cx="2979379" cy="1961043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669000" y="4249993"/>
            <a:ext cx="2979379" cy="1961043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2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76900" y="1106509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3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276900" y="3737527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3472950" y="1106509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3472950" y="3737527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5" hasCustomPrompt="1"/>
          </p:nvPr>
        </p:nvSpPr>
        <p:spPr>
          <a:xfrm>
            <a:off x="6669000" y="1106509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6" hasCustomPrompt="1"/>
          </p:nvPr>
        </p:nvSpPr>
        <p:spPr>
          <a:xfrm>
            <a:off x="6669000" y="3737527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4032041" y="1107892"/>
            <a:ext cx="2404907" cy="507970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7228092" y="1107892"/>
            <a:ext cx="2404907" cy="507970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38" hasCustomPrompt="1"/>
          </p:nvPr>
        </p:nvSpPr>
        <p:spPr>
          <a:xfrm>
            <a:off x="838200" y="1107892"/>
            <a:ext cx="2414401" cy="507970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7" name="Текст 2"/>
          <p:cNvSpPr>
            <a:spLocks noGrp="1"/>
          </p:cNvSpPr>
          <p:nvPr>
            <p:ph type="body" idx="39" hasCustomPrompt="1"/>
          </p:nvPr>
        </p:nvSpPr>
        <p:spPr>
          <a:xfrm>
            <a:off x="4032041" y="3754058"/>
            <a:ext cx="2404907" cy="507970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8" name="Текст 2"/>
          <p:cNvSpPr>
            <a:spLocks noGrp="1"/>
          </p:cNvSpPr>
          <p:nvPr>
            <p:ph type="body" idx="40" hasCustomPrompt="1"/>
          </p:nvPr>
        </p:nvSpPr>
        <p:spPr>
          <a:xfrm>
            <a:off x="7228092" y="3754058"/>
            <a:ext cx="2404907" cy="507970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9" name="Текст 2"/>
          <p:cNvSpPr>
            <a:spLocks noGrp="1"/>
          </p:cNvSpPr>
          <p:nvPr>
            <p:ph type="body" idx="41" hasCustomPrompt="1"/>
          </p:nvPr>
        </p:nvSpPr>
        <p:spPr>
          <a:xfrm>
            <a:off x="838200" y="3754058"/>
            <a:ext cx="2414401" cy="507970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3534779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Шесть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76900" y="1706226"/>
            <a:ext cx="2979379" cy="1918262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472949" y="1706226"/>
            <a:ext cx="2979379" cy="1918262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669000" y="1706226"/>
            <a:ext cx="2979379" cy="1918262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276900" y="4352391"/>
            <a:ext cx="2979379" cy="1858645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472949" y="4352391"/>
            <a:ext cx="2979379" cy="1858645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6669000" y="4352391"/>
            <a:ext cx="2979379" cy="1858645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8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472949" y="1107891"/>
            <a:ext cx="2964000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669000" y="1107891"/>
            <a:ext cx="2964000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276900" y="1107891"/>
            <a:ext cx="29757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idx="38" hasCustomPrompt="1"/>
          </p:nvPr>
        </p:nvSpPr>
        <p:spPr>
          <a:xfrm>
            <a:off x="3472949" y="3754057"/>
            <a:ext cx="2964000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39" hasCustomPrompt="1"/>
          </p:nvPr>
        </p:nvSpPr>
        <p:spPr>
          <a:xfrm>
            <a:off x="6669000" y="3754057"/>
            <a:ext cx="2964000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idx="40" hasCustomPrompt="1"/>
          </p:nvPr>
        </p:nvSpPr>
        <p:spPr>
          <a:xfrm>
            <a:off x="276900" y="3754057"/>
            <a:ext cx="29757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18436259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3х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3774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4" name="Content Placeholder 6"/>
          <p:cNvSpPr>
            <a:spLocks noGrp="1"/>
          </p:cNvSpPr>
          <p:nvPr>
            <p:ph sz="quarter" idx="42"/>
          </p:nvPr>
        </p:nvSpPr>
        <p:spPr>
          <a:xfrm>
            <a:off x="276225" y="3724247"/>
            <a:ext cx="2976563" cy="2613485"/>
          </a:xfrm>
        </p:spPr>
        <p:txBody>
          <a:bodyPr/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41"/>
          </p:nvPr>
        </p:nvSpPr>
        <p:spPr>
          <a:xfrm>
            <a:off x="276038" y="1107890"/>
            <a:ext cx="2976563" cy="2613485"/>
          </a:xfrm>
        </p:spPr>
        <p:txBody>
          <a:bodyPr/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25" name="Content Placeholder 6"/>
          <p:cNvSpPr>
            <a:spLocks noGrp="1"/>
          </p:cNvSpPr>
          <p:nvPr>
            <p:ph sz="quarter" idx="43"/>
          </p:nvPr>
        </p:nvSpPr>
        <p:spPr>
          <a:xfrm>
            <a:off x="3472519" y="3724247"/>
            <a:ext cx="2976563" cy="2613485"/>
          </a:xfrm>
        </p:spPr>
        <p:txBody>
          <a:bodyPr/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44"/>
          </p:nvPr>
        </p:nvSpPr>
        <p:spPr>
          <a:xfrm>
            <a:off x="3472519" y="1107890"/>
            <a:ext cx="2976563" cy="2613485"/>
          </a:xfrm>
        </p:spPr>
        <p:txBody>
          <a:bodyPr/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45"/>
          </p:nvPr>
        </p:nvSpPr>
        <p:spPr>
          <a:xfrm>
            <a:off x="6669000" y="3724247"/>
            <a:ext cx="2976563" cy="2613485"/>
          </a:xfrm>
        </p:spPr>
        <p:txBody>
          <a:bodyPr/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46"/>
          </p:nvPr>
        </p:nvSpPr>
        <p:spPr>
          <a:xfrm>
            <a:off x="6669000" y="1107890"/>
            <a:ext cx="2976563" cy="2613485"/>
          </a:xfrm>
        </p:spPr>
        <p:txBody>
          <a:bodyPr/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759118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3х2 с заголовками коло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1727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4" name="Content Placeholder 6"/>
          <p:cNvSpPr>
            <a:spLocks noGrp="1"/>
          </p:cNvSpPr>
          <p:nvPr>
            <p:ph sz="quarter" idx="42"/>
          </p:nvPr>
        </p:nvSpPr>
        <p:spPr>
          <a:xfrm>
            <a:off x="276225" y="4023584"/>
            <a:ext cx="2976563" cy="2265362"/>
          </a:xfrm>
        </p:spPr>
        <p:txBody>
          <a:bodyPr/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41"/>
          </p:nvPr>
        </p:nvSpPr>
        <p:spPr>
          <a:xfrm>
            <a:off x="276038" y="1706563"/>
            <a:ext cx="2976563" cy="2265362"/>
          </a:xfrm>
        </p:spPr>
        <p:txBody>
          <a:bodyPr/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8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472519" y="1107891"/>
            <a:ext cx="2964000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669000" y="1107891"/>
            <a:ext cx="2964000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276900" y="1107891"/>
            <a:ext cx="29757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5" name="Content Placeholder 6"/>
          <p:cNvSpPr>
            <a:spLocks noGrp="1"/>
          </p:cNvSpPr>
          <p:nvPr>
            <p:ph sz="quarter" idx="43"/>
          </p:nvPr>
        </p:nvSpPr>
        <p:spPr>
          <a:xfrm>
            <a:off x="3472519" y="4023584"/>
            <a:ext cx="2976563" cy="2265362"/>
          </a:xfrm>
        </p:spPr>
        <p:txBody>
          <a:bodyPr/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44"/>
          </p:nvPr>
        </p:nvSpPr>
        <p:spPr>
          <a:xfrm>
            <a:off x="3472519" y="1706563"/>
            <a:ext cx="2976563" cy="2265362"/>
          </a:xfrm>
        </p:spPr>
        <p:txBody>
          <a:bodyPr/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45"/>
          </p:nvPr>
        </p:nvSpPr>
        <p:spPr>
          <a:xfrm>
            <a:off x="6669000" y="4023584"/>
            <a:ext cx="2976563" cy="2265362"/>
          </a:xfrm>
        </p:spPr>
        <p:txBody>
          <a:bodyPr/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46"/>
          </p:nvPr>
        </p:nvSpPr>
        <p:spPr>
          <a:xfrm>
            <a:off x="6669000" y="1706563"/>
            <a:ext cx="2976563" cy="2265362"/>
          </a:xfrm>
        </p:spPr>
        <p:txBody>
          <a:bodyPr/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9413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3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81460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2751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4" name="Content Placeholder 6"/>
          <p:cNvSpPr>
            <a:spLocks noGrp="1"/>
          </p:cNvSpPr>
          <p:nvPr>
            <p:ph sz="quarter" idx="42"/>
          </p:nvPr>
        </p:nvSpPr>
        <p:spPr>
          <a:xfrm>
            <a:off x="276225" y="4293336"/>
            <a:ext cx="2976563" cy="1917700"/>
          </a:xfrm>
        </p:spPr>
        <p:txBody>
          <a:bodyPr/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41"/>
          </p:nvPr>
        </p:nvSpPr>
        <p:spPr>
          <a:xfrm>
            <a:off x="276225" y="1706563"/>
            <a:ext cx="2976563" cy="1917700"/>
          </a:xfrm>
        </p:spPr>
        <p:txBody>
          <a:bodyPr/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8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3472519" y="1107891"/>
            <a:ext cx="2964000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9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6669000" y="1107891"/>
            <a:ext cx="2964000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/>
          <p:cNvSpPr>
            <a:spLocks noGrp="1"/>
          </p:cNvSpPr>
          <p:nvPr>
            <p:ph type="body" idx="24" hasCustomPrompt="1"/>
          </p:nvPr>
        </p:nvSpPr>
        <p:spPr>
          <a:xfrm>
            <a:off x="276900" y="1107891"/>
            <a:ext cx="29757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1" name="Текст 2"/>
          <p:cNvSpPr>
            <a:spLocks noGrp="1"/>
          </p:cNvSpPr>
          <p:nvPr>
            <p:ph type="body" idx="38" hasCustomPrompt="1"/>
          </p:nvPr>
        </p:nvSpPr>
        <p:spPr>
          <a:xfrm>
            <a:off x="3472949" y="3694437"/>
            <a:ext cx="2964000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39" hasCustomPrompt="1"/>
          </p:nvPr>
        </p:nvSpPr>
        <p:spPr>
          <a:xfrm>
            <a:off x="6669000" y="3694437"/>
            <a:ext cx="2964000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idx="40" hasCustomPrompt="1"/>
          </p:nvPr>
        </p:nvSpPr>
        <p:spPr>
          <a:xfrm>
            <a:off x="276900" y="3694437"/>
            <a:ext cx="29757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5" name="Content Placeholder 6"/>
          <p:cNvSpPr>
            <a:spLocks noGrp="1"/>
          </p:cNvSpPr>
          <p:nvPr>
            <p:ph sz="quarter" idx="43"/>
          </p:nvPr>
        </p:nvSpPr>
        <p:spPr>
          <a:xfrm>
            <a:off x="3472519" y="4293336"/>
            <a:ext cx="2976563" cy="1917700"/>
          </a:xfrm>
        </p:spPr>
        <p:txBody>
          <a:bodyPr/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6" name="Content Placeholder 6"/>
          <p:cNvSpPr>
            <a:spLocks noGrp="1"/>
          </p:cNvSpPr>
          <p:nvPr>
            <p:ph sz="quarter" idx="44"/>
          </p:nvPr>
        </p:nvSpPr>
        <p:spPr>
          <a:xfrm>
            <a:off x="3472519" y="1706563"/>
            <a:ext cx="2976563" cy="1917700"/>
          </a:xfrm>
        </p:spPr>
        <p:txBody>
          <a:bodyPr/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7" name="Content Placeholder 6"/>
          <p:cNvSpPr>
            <a:spLocks noGrp="1"/>
          </p:cNvSpPr>
          <p:nvPr>
            <p:ph sz="quarter" idx="45"/>
          </p:nvPr>
        </p:nvSpPr>
        <p:spPr>
          <a:xfrm>
            <a:off x="6669000" y="4293336"/>
            <a:ext cx="2976563" cy="1917700"/>
          </a:xfrm>
        </p:spPr>
        <p:txBody>
          <a:bodyPr/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8" name="Content Placeholder 6"/>
          <p:cNvSpPr>
            <a:spLocks noGrp="1"/>
          </p:cNvSpPr>
          <p:nvPr>
            <p:ph sz="quarter" idx="46"/>
          </p:nvPr>
        </p:nvSpPr>
        <p:spPr>
          <a:xfrm>
            <a:off x="6669000" y="1706563"/>
            <a:ext cx="2976563" cy="1917700"/>
          </a:xfrm>
        </p:spPr>
        <p:txBody>
          <a:bodyPr/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10794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фото слев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Рисунок 13"/>
          <p:cNvSpPr>
            <a:spLocks noGrp="1"/>
          </p:cNvSpPr>
          <p:nvPr>
            <p:ph type="pic" sz="quarter" idx="15" hasCustomPrompt="1"/>
          </p:nvPr>
        </p:nvSpPr>
        <p:spPr>
          <a:xfrm>
            <a:off x="1" y="0"/>
            <a:ext cx="3863951" cy="6858000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4238334"/>
              </p:ext>
            </p:ext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643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71979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9938897" y="4"/>
            <a:ext cx="3013327" cy="6857999"/>
          </a:xfrm>
          <a:prstGeom prst="rect">
            <a:avLst/>
          </a:prstGeom>
          <a:solidFill>
            <a:srgbClr val="2D8797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10019846" y="91099"/>
            <a:ext cx="409056" cy="582612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10019846" y="1256321"/>
            <a:ext cx="409056" cy="58420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10019846" y="673712"/>
            <a:ext cx="409056" cy="582613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10019846" y="4490076"/>
            <a:ext cx="409056" cy="582613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10019846" y="2164372"/>
            <a:ext cx="409056" cy="58420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10019846" y="2742223"/>
            <a:ext cx="409056" cy="582612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10019846" y="3324840"/>
            <a:ext cx="409056" cy="582613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10019846" y="39074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10019846" y="5072672"/>
            <a:ext cx="409056" cy="58420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10019846" y="5656872"/>
            <a:ext cx="409056" cy="58420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10019849" y="1256321"/>
            <a:ext cx="409056" cy="58420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10019849" y="673712"/>
            <a:ext cx="409056" cy="582613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10019849" y="4490080"/>
            <a:ext cx="409056" cy="582613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10019849" y="2164372"/>
            <a:ext cx="409056" cy="58420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10019849" y="2742223"/>
            <a:ext cx="409056" cy="582612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10019849" y="3324840"/>
            <a:ext cx="409056" cy="582613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10019849" y="39074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10019849" y="5072672"/>
            <a:ext cx="409056" cy="58420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10019849" y="5656872"/>
            <a:ext cx="409056" cy="58420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66" name="Прямая соединительная линия 65"/>
          <p:cNvCxnSpPr/>
          <p:nvPr/>
        </p:nvCxnSpPr>
        <p:spPr bwMode="auto">
          <a:xfrm>
            <a:off x="10558274" y="592667"/>
            <a:ext cx="222197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4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251000" y="3848183"/>
            <a:ext cx="5357820" cy="1032429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</a:t>
            </a:r>
            <a:r>
              <a:rPr lang="ru-RU" dirty="0" smtClean="0"/>
              <a:t>Фамилия</a:t>
            </a:r>
            <a:br>
              <a:rPr lang="ru-RU" dirty="0" smtClean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Компания </a:t>
            </a:r>
            <a:r>
              <a:rPr lang="ru-RU" dirty="0"/>
              <a:t>/ функция / направление</a:t>
            </a:r>
          </a:p>
        </p:txBody>
      </p:sp>
      <p:sp>
        <p:nvSpPr>
          <p:cNvPr id="36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4251002" y="5194390"/>
            <a:ext cx="5350757" cy="68168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</a:t>
            </a:r>
            <a:r>
              <a:rPr lang="ru-RU" dirty="0" smtClean="0"/>
              <a:t>мероприятия</a:t>
            </a:r>
            <a:br>
              <a:rPr lang="ru-RU" dirty="0" smtClean="0"/>
            </a:br>
            <a:r>
              <a:rPr lang="ru-RU" dirty="0" smtClean="0"/>
              <a:t>Дата </a:t>
            </a:r>
            <a:r>
              <a:rPr lang="ru-RU" dirty="0"/>
              <a:t>проведения</a:t>
            </a:r>
          </a:p>
        </p:txBody>
      </p:sp>
      <p:sp>
        <p:nvSpPr>
          <p:cNvPr id="3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4251000" y="1544017"/>
            <a:ext cx="5373979" cy="196126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6773" y="460784"/>
            <a:ext cx="1085631" cy="20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97140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раздела + заголовки + ико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058300" y="2188633"/>
            <a:ext cx="2184000" cy="4022407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0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76899" y="1521227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1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2667601" y="1521227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2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5058301" y="1521227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3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7449000" y="1521227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276887" y="1006700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2667600" y="1006700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5058300" y="1006700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7448999" y="1006700"/>
            <a:ext cx="468000" cy="480000"/>
          </a:xfr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76900" y="2188633"/>
            <a:ext cx="2184000" cy="4022407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667600" y="2188633"/>
            <a:ext cx="2184000" cy="4022407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449000" y="2188633"/>
            <a:ext cx="2184000" cy="4022407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61242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диаграммы с комментар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058300" y="4403806"/>
            <a:ext cx="2184000" cy="1807233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76900" y="4403806"/>
            <a:ext cx="2184000" cy="1807233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667600" y="4403806"/>
            <a:ext cx="2184000" cy="1807233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449000" y="4403806"/>
            <a:ext cx="2184000" cy="1807233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4" name="Диаграмма 13"/>
          <p:cNvSpPr>
            <a:spLocks noGrp="1"/>
          </p:cNvSpPr>
          <p:nvPr>
            <p:ph type="chart" sz="quarter" idx="18" hasCustomPrompt="1"/>
          </p:nvPr>
        </p:nvSpPr>
        <p:spPr>
          <a:xfrm>
            <a:off x="276888" y="1818168"/>
            <a:ext cx="2184000" cy="2457449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5" name="Диаграмма 13"/>
          <p:cNvSpPr>
            <a:spLocks noGrp="1"/>
          </p:cNvSpPr>
          <p:nvPr>
            <p:ph type="chart" sz="quarter" idx="19" hasCustomPrompt="1"/>
          </p:nvPr>
        </p:nvSpPr>
        <p:spPr>
          <a:xfrm>
            <a:off x="2666153" y="1818168"/>
            <a:ext cx="2184000" cy="2457449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3" name="Диаграмма 13"/>
          <p:cNvSpPr>
            <a:spLocks noGrp="1"/>
          </p:cNvSpPr>
          <p:nvPr>
            <p:ph type="chart" sz="quarter" idx="22" hasCustomPrompt="1"/>
          </p:nvPr>
        </p:nvSpPr>
        <p:spPr>
          <a:xfrm>
            <a:off x="5055417" y="1818168"/>
            <a:ext cx="2184000" cy="2457449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Диаграмма 13"/>
          <p:cNvSpPr>
            <a:spLocks noGrp="1"/>
          </p:cNvSpPr>
          <p:nvPr>
            <p:ph type="chart" sz="quarter" idx="25" hasCustomPrompt="1"/>
          </p:nvPr>
        </p:nvSpPr>
        <p:spPr>
          <a:xfrm>
            <a:off x="7444681" y="1818168"/>
            <a:ext cx="2184000" cy="2457449"/>
          </a:xfr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Текст 2">
            <a:extLst>
              <a:ext uri="{FF2B5EF4-FFF2-40B4-BE49-F238E27FC236}">
                <a16:creationId xmlns:a16="http://schemas.microsoft.com/office/drawing/2014/main" id="{156977D3-B49F-459C-8A95-0201776EC89E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76899" y="1174178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3" name="Текст 2">
            <a:extLst>
              <a:ext uri="{FF2B5EF4-FFF2-40B4-BE49-F238E27FC236}">
                <a16:creationId xmlns:a16="http://schemas.microsoft.com/office/drawing/2014/main" id="{01672133-F7F2-4D49-84AE-FB4BF84CCFBB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2667601" y="1174178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4" name="Текст 2">
            <a:extLst>
              <a:ext uri="{FF2B5EF4-FFF2-40B4-BE49-F238E27FC236}">
                <a16:creationId xmlns:a16="http://schemas.microsoft.com/office/drawing/2014/main" id="{89913B83-2D6F-4502-B6BF-D6C17DA85AD9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5058301" y="1174178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5" name="Текст 2">
            <a:extLst>
              <a:ext uri="{FF2B5EF4-FFF2-40B4-BE49-F238E27FC236}">
                <a16:creationId xmlns:a16="http://schemas.microsoft.com/office/drawing/2014/main" id="{FCCA6A8A-8972-4627-8588-AAA663EB57EA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449000" y="1174178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15551237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058302" y="1706221"/>
            <a:ext cx="2184000" cy="4561229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76902" y="1706221"/>
            <a:ext cx="2184000" cy="4561229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667602" y="1706221"/>
            <a:ext cx="2184000" cy="4561229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449000" y="1706221"/>
            <a:ext cx="2184000" cy="4561229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4" name="Текст 2">
            <a:extLst>
              <a:ext uri="{FF2B5EF4-FFF2-40B4-BE49-F238E27FC236}">
                <a16:creationId xmlns:a16="http://schemas.microsoft.com/office/drawing/2014/main" id="{156977D3-B49F-459C-8A95-0201776EC89E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76899" y="1107886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5" name="Текст 2">
            <a:extLst>
              <a:ext uri="{FF2B5EF4-FFF2-40B4-BE49-F238E27FC236}">
                <a16:creationId xmlns:a16="http://schemas.microsoft.com/office/drawing/2014/main" id="{01672133-F7F2-4D49-84AE-FB4BF84CCFBB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2667601" y="1107886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6" name="Текст 2">
            <a:extLst>
              <a:ext uri="{FF2B5EF4-FFF2-40B4-BE49-F238E27FC236}">
                <a16:creationId xmlns:a16="http://schemas.microsoft.com/office/drawing/2014/main" id="{89913B83-2D6F-4502-B6BF-D6C17DA85AD9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5058301" y="1107886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17" name="Текст 2">
            <a:extLst>
              <a:ext uri="{FF2B5EF4-FFF2-40B4-BE49-F238E27FC236}">
                <a16:creationId xmlns:a16="http://schemas.microsoft.com/office/drawing/2014/main" id="{FCCA6A8A-8972-4627-8588-AAA663EB57EA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449000" y="1107886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2637354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фото +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058300" y="4371975"/>
            <a:ext cx="2184000" cy="1839064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76900" y="4371975"/>
            <a:ext cx="2184000" cy="1839064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667600" y="4371975"/>
            <a:ext cx="2184000" cy="1839064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449000" y="4371975"/>
            <a:ext cx="2184000" cy="1839064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7"/>
          </p:nvPr>
        </p:nvSpPr>
        <p:spPr>
          <a:xfrm>
            <a:off x="277009" y="1722286"/>
            <a:ext cx="2183892" cy="2646817"/>
          </a:xfr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18"/>
          </p:nvPr>
        </p:nvSpPr>
        <p:spPr>
          <a:xfrm>
            <a:off x="2672085" y="1722286"/>
            <a:ext cx="2183892" cy="2646817"/>
          </a:xfr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13" name="Рисунок 10"/>
          <p:cNvSpPr>
            <a:spLocks noGrp="1"/>
          </p:cNvSpPr>
          <p:nvPr>
            <p:ph type="pic" sz="quarter" idx="19"/>
          </p:nvPr>
        </p:nvSpPr>
        <p:spPr>
          <a:xfrm>
            <a:off x="5058300" y="1722286"/>
            <a:ext cx="2183892" cy="2646817"/>
          </a:xfr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20"/>
          </p:nvPr>
        </p:nvSpPr>
        <p:spPr>
          <a:xfrm>
            <a:off x="7449108" y="1722286"/>
            <a:ext cx="2183892" cy="2646817"/>
          </a:xfrm>
        </p:spPr>
        <p:txBody>
          <a:bodyPr/>
          <a:lstStyle>
            <a:lvl1pPr>
              <a:defRPr sz="1200"/>
            </a:lvl1pPr>
          </a:lstStyle>
          <a:p>
            <a:endParaRPr lang="ru-RU"/>
          </a:p>
        </p:txBody>
      </p:sp>
      <p:sp>
        <p:nvSpPr>
          <p:cNvPr id="19" name="Текст 2">
            <a:extLst>
              <a:ext uri="{FF2B5EF4-FFF2-40B4-BE49-F238E27FC236}">
                <a16:creationId xmlns:a16="http://schemas.microsoft.com/office/drawing/2014/main" id="{156977D3-B49F-459C-8A95-0201776EC89E}"/>
              </a:ext>
            </a:extLst>
          </p:cNvPr>
          <p:cNvSpPr>
            <a:spLocks noGrp="1"/>
          </p:cNvSpPr>
          <p:nvPr>
            <p:ph type="body" idx="39" hasCustomPrompt="1"/>
          </p:nvPr>
        </p:nvSpPr>
        <p:spPr>
          <a:xfrm>
            <a:off x="276899" y="1123951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>
            <a:extLst>
              <a:ext uri="{FF2B5EF4-FFF2-40B4-BE49-F238E27FC236}">
                <a16:creationId xmlns:a16="http://schemas.microsoft.com/office/drawing/2014/main" id="{01672133-F7F2-4D49-84AE-FB4BF84CCFBB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2667601" y="1123951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1" name="Текст 2">
            <a:extLst>
              <a:ext uri="{FF2B5EF4-FFF2-40B4-BE49-F238E27FC236}">
                <a16:creationId xmlns:a16="http://schemas.microsoft.com/office/drawing/2014/main" id="{89913B83-2D6F-4502-B6BF-D6C17DA85AD9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5058301" y="1123951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2" name="Текст 2">
            <a:extLst>
              <a:ext uri="{FF2B5EF4-FFF2-40B4-BE49-F238E27FC236}">
                <a16:creationId xmlns:a16="http://schemas.microsoft.com/office/drawing/2014/main" id="{FCCA6A8A-8972-4627-8588-AAA663EB57EA}"/>
              </a:ext>
            </a:extLst>
          </p:cNvPr>
          <p:cNvSpPr>
            <a:spLocks noGrp="1"/>
          </p:cNvSpPr>
          <p:nvPr>
            <p:ph type="body" idx="40" hasCustomPrompt="1"/>
          </p:nvPr>
        </p:nvSpPr>
        <p:spPr>
          <a:xfrm>
            <a:off x="7449000" y="1123951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35823557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4х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 smtClean="0"/>
              <a:t>23.06.2020</a:t>
            </a:r>
            <a:endParaRPr lang="ru-RU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39"/>
          </p:nvPr>
        </p:nvSpPr>
        <p:spPr>
          <a:xfrm>
            <a:off x="276225" y="1194952"/>
            <a:ext cx="2184400" cy="246677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2" name="Content Placeholder 10"/>
          <p:cNvSpPr>
            <a:spLocks noGrp="1"/>
          </p:cNvSpPr>
          <p:nvPr>
            <p:ph sz="quarter" idx="40"/>
          </p:nvPr>
        </p:nvSpPr>
        <p:spPr>
          <a:xfrm>
            <a:off x="2667017" y="1194952"/>
            <a:ext cx="2184400" cy="246677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3" name="Content Placeholder 10"/>
          <p:cNvSpPr>
            <a:spLocks noGrp="1"/>
          </p:cNvSpPr>
          <p:nvPr>
            <p:ph sz="quarter" idx="41"/>
          </p:nvPr>
        </p:nvSpPr>
        <p:spPr>
          <a:xfrm>
            <a:off x="5057809" y="1194952"/>
            <a:ext cx="2184400" cy="246677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4" name="Content Placeholder 10"/>
          <p:cNvSpPr>
            <a:spLocks noGrp="1"/>
          </p:cNvSpPr>
          <p:nvPr>
            <p:ph sz="quarter" idx="42"/>
          </p:nvPr>
        </p:nvSpPr>
        <p:spPr>
          <a:xfrm>
            <a:off x="7448600" y="1194952"/>
            <a:ext cx="2184400" cy="246677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5" name="Content Placeholder 10"/>
          <p:cNvSpPr>
            <a:spLocks noGrp="1"/>
          </p:cNvSpPr>
          <p:nvPr>
            <p:ph sz="quarter" idx="43"/>
          </p:nvPr>
        </p:nvSpPr>
        <p:spPr>
          <a:xfrm>
            <a:off x="276225" y="3791155"/>
            <a:ext cx="2184400" cy="246677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6" name="Content Placeholder 10"/>
          <p:cNvSpPr>
            <a:spLocks noGrp="1"/>
          </p:cNvSpPr>
          <p:nvPr>
            <p:ph sz="quarter" idx="44"/>
          </p:nvPr>
        </p:nvSpPr>
        <p:spPr>
          <a:xfrm>
            <a:off x="2667017" y="3791155"/>
            <a:ext cx="2184400" cy="246677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7" name="Content Placeholder 10"/>
          <p:cNvSpPr>
            <a:spLocks noGrp="1"/>
          </p:cNvSpPr>
          <p:nvPr>
            <p:ph sz="quarter" idx="45"/>
          </p:nvPr>
        </p:nvSpPr>
        <p:spPr>
          <a:xfrm>
            <a:off x="5057809" y="3791155"/>
            <a:ext cx="2184400" cy="246677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8" name="Content Placeholder 10"/>
          <p:cNvSpPr>
            <a:spLocks noGrp="1"/>
          </p:cNvSpPr>
          <p:nvPr>
            <p:ph sz="quarter" idx="46"/>
          </p:nvPr>
        </p:nvSpPr>
        <p:spPr>
          <a:xfrm>
            <a:off x="7448600" y="3791155"/>
            <a:ext cx="2184400" cy="246677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64427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4х2 с заголовками коло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 smtClean="0"/>
              <a:t>23.06.2020</a:t>
            </a:r>
            <a:endParaRPr lang="ru-RU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39"/>
          </p:nvPr>
        </p:nvSpPr>
        <p:spPr>
          <a:xfrm>
            <a:off x="276225" y="1772512"/>
            <a:ext cx="2184400" cy="2247038"/>
          </a:xfrm>
        </p:spPr>
        <p:txBody>
          <a:bodyPr/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0"/>
          <p:cNvSpPr>
            <a:spLocks noGrp="1"/>
          </p:cNvSpPr>
          <p:nvPr>
            <p:ph sz="quarter" idx="40"/>
          </p:nvPr>
        </p:nvSpPr>
        <p:spPr>
          <a:xfrm>
            <a:off x="2667017" y="1772512"/>
            <a:ext cx="2184400" cy="22470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3" name="Content Placeholder 10"/>
          <p:cNvSpPr>
            <a:spLocks noGrp="1"/>
          </p:cNvSpPr>
          <p:nvPr>
            <p:ph sz="quarter" idx="41"/>
          </p:nvPr>
        </p:nvSpPr>
        <p:spPr>
          <a:xfrm>
            <a:off x="5057809" y="1772512"/>
            <a:ext cx="2184400" cy="22470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4" name="Content Placeholder 10"/>
          <p:cNvSpPr>
            <a:spLocks noGrp="1"/>
          </p:cNvSpPr>
          <p:nvPr>
            <p:ph sz="quarter" idx="42"/>
          </p:nvPr>
        </p:nvSpPr>
        <p:spPr>
          <a:xfrm>
            <a:off x="7448600" y="1772512"/>
            <a:ext cx="2184400" cy="22470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5" name="Content Placeholder 10"/>
          <p:cNvSpPr>
            <a:spLocks noGrp="1"/>
          </p:cNvSpPr>
          <p:nvPr>
            <p:ph sz="quarter" idx="43"/>
          </p:nvPr>
        </p:nvSpPr>
        <p:spPr>
          <a:xfrm>
            <a:off x="276225" y="4019550"/>
            <a:ext cx="2184400" cy="2238375"/>
          </a:xfrm>
        </p:spPr>
        <p:txBody>
          <a:bodyPr/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Content Placeholder 10"/>
          <p:cNvSpPr>
            <a:spLocks noGrp="1"/>
          </p:cNvSpPr>
          <p:nvPr>
            <p:ph sz="quarter" idx="44"/>
          </p:nvPr>
        </p:nvSpPr>
        <p:spPr>
          <a:xfrm>
            <a:off x="2667017" y="4019550"/>
            <a:ext cx="2184400" cy="2238375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7" name="Content Placeholder 10"/>
          <p:cNvSpPr>
            <a:spLocks noGrp="1"/>
          </p:cNvSpPr>
          <p:nvPr>
            <p:ph sz="quarter" idx="45"/>
          </p:nvPr>
        </p:nvSpPr>
        <p:spPr>
          <a:xfrm>
            <a:off x="5057809" y="4019550"/>
            <a:ext cx="2184400" cy="2238375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8" name="Content Placeholder 10"/>
          <p:cNvSpPr>
            <a:spLocks noGrp="1"/>
          </p:cNvSpPr>
          <p:nvPr>
            <p:ph sz="quarter" idx="46"/>
          </p:nvPr>
        </p:nvSpPr>
        <p:spPr>
          <a:xfrm>
            <a:off x="7448600" y="4019550"/>
            <a:ext cx="2184400" cy="2238375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9" name="Текст 2">
            <a:extLst>
              <a:ext uri="{FF2B5EF4-FFF2-40B4-BE49-F238E27FC236}">
                <a16:creationId xmlns:a16="http://schemas.microsoft.com/office/drawing/2014/main" id="{156977D3-B49F-459C-8A95-0201776EC89E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76899" y="1174178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>
            <a:extLst>
              <a:ext uri="{FF2B5EF4-FFF2-40B4-BE49-F238E27FC236}">
                <a16:creationId xmlns:a16="http://schemas.microsoft.com/office/drawing/2014/main" id="{01672133-F7F2-4D49-84AE-FB4BF84CCFBB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2667601" y="1174178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1" name="Текст 2">
            <a:extLst>
              <a:ext uri="{FF2B5EF4-FFF2-40B4-BE49-F238E27FC236}">
                <a16:creationId xmlns:a16="http://schemas.microsoft.com/office/drawing/2014/main" id="{89913B83-2D6F-4502-B6BF-D6C17DA85AD9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5058301" y="1174178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2" name="Текст 2">
            <a:extLst>
              <a:ext uri="{FF2B5EF4-FFF2-40B4-BE49-F238E27FC236}">
                <a16:creationId xmlns:a16="http://schemas.microsoft.com/office/drawing/2014/main" id="{FCCA6A8A-8972-4627-8588-AAA663EB57EA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449000" y="1174178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4110050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Универсальная сетка 4х2 с заголовками буллит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. Мероприятие</a:t>
            </a:r>
            <a:endParaRPr lang="ru-RU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 smtClean="0"/>
              <a:t>23.06.2020</a:t>
            </a:r>
            <a:endParaRPr lang="ru-RU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39"/>
          </p:nvPr>
        </p:nvSpPr>
        <p:spPr>
          <a:xfrm>
            <a:off x="276225" y="1772512"/>
            <a:ext cx="2184400" cy="1908000"/>
          </a:xfrm>
        </p:spPr>
        <p:txBody>
          <a:bodyPr/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Content Placeholder 10"/>
          <p:cNvSpPr>
            <a:spLocks noGrp="1"/>
          </p:cNvSpPr>
          <p:nvPr>
            <p:ph sz="quarter" idx="40"/>
          </p:nvPr>
        </p:nvSpPr>
        <p:spPr>
          <a:xfrm>
            <a:off x="2667017" y="1772512"/>
            <a:ext cx="2184400" cy="1908000"/>
          </a:xfrm>
        </p:spPr>
        <p:txBody>
          <a:bodyPr/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3" name="Content Placeholder 10"/>
          <p:cNvSpPr>
            <a:spLocks noGrp="1"/>
          </p:cNvSpPr>
          <p:nvPr>
            <p:ph sz="quarter" idx="41"/>
          </p:nvPr>
        </p:nvSpPr>
        <p:spPr>
          <a:xfrm>
            <a:off x="5057809" y="1772512"/>
            <a:ext cx="2184400" cy="190800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4" name="Content Placeholder 10"/>
          <p:cNvSpPr>
            <a:spLocks noGrp="1"/>
          </p:cNvSpPr>
          <p:nvPr>
            <p:ph sz="quarter" idx="42"/>
          </p:nvPr>
        </p:nvSpPr>
        <p:spPr>
          <a:xfrm>
            <a:off x="7448600" y="1772512"/>
            <a:ext cx="2184400" cy="190800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5" name="Content Placeholder 10"/>
          <p:cNvSpPr>
            <a:spLocks noGrp="1"/>
          </p:cNvSpPr>
          <p:nvPr>
            <p:ph sz="quarter" idx="43"/>
          </p:nvPr>
        </p:nvSpPr>
        <p:spPr>
          <a:xfrm>
            <a:off x="276225" y="4421055"/>
            <a:ext cx="2184400" cy="1908000"/>
          </a:xfrm>
        </p:spPr>
        <p:txBody>
          <a:bodyPr/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6" name="Content Placeholder 10"/>
          <p:cNvSpPr>
            <a:spLocks noGrp="1"/>
          </p:cNvSpPr>
          <p:nvPr>
            <p:ph sz="quarter" idx="44"/>
          </p:nvPr>
        </p:nvSpPr>
        <p:spPr>
          <a:xfrm>
            <a:off x="2667017" y="4421055"/>
            <a:ext cx="2184400" cy="190800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7" name="Content Placeholder 10"/>
          <p:cNvSpPr>
            <a:spLocks noGrp="1"/>
          </p:cNvSpPr>
          <p:nvPr>
            <p:ph sz="quarter" idx="45"/>
          </p:nvPr>
        </p:nvSpPr>
        <p:spPr>
          <a:xfrm>
            <a:off x="5057809" y="4421055"/>
            <a:ext cx="2184400" cy="190800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8" name="Content Placeholder 10"/>
          <p:cNvSpPr>
            <a:spLocks noGrp="1"/>
          </p:cNvSpPr>
          <p:nvPr>
            <p:ph sz="quarter" idx="46"/>
          </p:nvPr>
        </p:nvSpPr>
        <p:spPr>
          <a:xfrm>
            <a:off x="7448600" y="4421055"/>
            <a:ext cx="2184400" cy="1908000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9" name="Текст 2">
            <a:extLst>
              <a:ext uri="{FF2B5EF4-FFF2-40B4-BE49-F238E27FC236}">
                <a16:creationId xmlns:a16="http://schemas.microsoft.com/office/drawing/2014/main" id="{156977D3-B49F-459C-8A95-0201776EC89E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276899" y="1174178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0" name="Текст 2">
            <a:extLst>
              <a:ext uri="{FF2B5EF4-FFF2-40B4-BE49-F238E27FC236}">
                <a16:creationId xmlns:a16="http://schemas.microsoft.com/office/drawing/2014/main" id="{01672133-F7F2-4D49-84AE-FB4BF84CCFBB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2667601" y="1174178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1" name="Текст 2">
            <a:extLst>
              <a:ext uri="{FF2B5EF4-FFF2-40B4-BE49-F238E27FC236}">
                <a16:creationId xmlns:a16="http://schemas.microsoft.com/office/drawing/2014/main" id="{89913B83-2D6F-4502-B6BF-D6C17DA85AD9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5058301" y="1174178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2" name="Текст 2">
            <a:extLst>
              <a:ext uri="{FF2B5EF4-FFF2-40B4-BE49-F238E27FC236}">
                <a16:creationId xmlns:a16="http://schemas.microsoft.com/office/drawing/2014/main" id="{FCCA6A8A-8972-4627-8588-AAA663EB57EA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7449000" y="1174178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3" name="Текст 2">
            <a:extLst>
              <a:ext uri="{FF2B5EF4-FFF2-40B4-BE49-F238E27FC236}">
                <a16:creationId xmlns:a16="http://schemas.microsoft.com/office/drawing/2014/main" id="{156977D3-B49F-459C-8A95-0201776EC89E}"/>
              </a:ext>
            </a:extLst>
          </p:cNvPr>
          <p:cNvSpPr>
            <a:spLocks noGrp="1"/>
          </p:cNvSpPr>
          <p:nvPr>
            <p:ph type="body" idx="47" hasCustomPrompt="1"/>
          </p:nvPr>
        </p:nvSpPr>
        <p:spPr>
          <a:xfrm>
            <a:off x="276225" y="3803062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4" name="Текст 2">
            <a:extLst>
              <a:ext uri="{FF2B5EF4-FFF2-40B4-BE49-F238E27FC236}">
                <a16:creationId xmlns:a16="http://schemas.microsoft.com/office/drawing/2014/main" id="{01672133-F7F2-4D49-84AE-FB4BF84CCFBB}"/>
              </a:ext>
            </a:extLst>
          </p:cNvPr>
          <p:cNvSpPr>
            <a:spLocks noGrp="1"/>
          </p:cNvSpPr>
          <p:nvPr>
            <p:ph type="body" idx="48" hasCustomPrompt="1"/>
          </p:nvPr>
        </p:nvSpPr>
        <p:spPr>
          <a:xfrm>
            <a:off x="2666927" y="3803062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5" name="Текст 2">
            <a:extLst>
              <a:ext uri="{FF2B5EF4-FFF2-40B4-BE49-F238E27FC236}">
                <a16:creationId xmlns:a16="http://schemas.microsoft.com/office/drawing/2014/main" id="{89913B83-2D6F-4502-B6BF-D6C17DA85AD9}"/>
              </a:ext>
            </a:extLst>
          </p:cNvPr>
          <p:cNvSpPr>
            <a:spLocks noGrp="1"/>
          </p:cNvSpPr>
          <p:nvPr>
            <p:ph type="body" idx="49" hasCustomPrompt="1"/>
          </p:nvPr>
        </p:nvSpPr>
        <p:spPr>
          <a:xfrm>
            <a:off x="5057627" y="3803062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  <p:sp>
        <p:nvSpPr>
          <p:cNvPr id="26" name="Текст 2">
            <a:extLst>
              <a:ext uri="{FF2B5EF4-FFF2-40B4-BE49-F238E27FC236}">
                <a16:creationId xmlns:a16="http://schemas.microsoft.com/office/drawing/2014/main" id="{FCCA6A8A-8972-4627-8588-AAA663EB57EA}"/>
              </a:ext>
            </a:extLst>
          </p:cNvPr>
          <p:cNvSpPr>
            <a:spLocks noGrp="1"/>
          </p:cNvSpPr>
          <p:nvPr>
            <p:ph type="body" idx="50" hasCustomPrompt="1"/>
          </p:nvPr>
        </p:nvSpPr>
        <p:spPr>
          <a:xfrm>
            <a:off x="7448326" y="3803062"/>
            <a:ext cx="2184001" cy="598335"/>
          </a:xfrm>
        </p:spPr>
        <p:txBody>
          <a:bodyPr anchor="t"/>
          <a:lstStyle>
            <a:lvl1pPr marL="0" indent="0">
              <a:buNone/>
              <a:defRPr sz="1400" b="0" cap="all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Заголовок буллита</a:t>
            </a:r>
          </a:p>
        </p:txBody>
      </p:sp>
    </p:spTree>
    <p:extLst>
      <p:ext uri="{BB962C8B-B14F-4D97-AF65-F5344CB8AC3E}">
        <p14:creationId xmlns:p14="http://schemas.microsoft.com/office/powerpoint/2010/main" val="33717485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шага процесс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5058300" y="2188633"/>
            <a:ext cx="2184000" cy="4022407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76900" y="2188633"/>
            <a:ext cx="2184000" cy="4022407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667600" y="2188633"/>
            <a:ext cx="2184000" cy="4022407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1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7449000" y="2188633"/>
            <a:ext cx="2184000" cy="4022407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0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76899" y="1107885"/>
            <a:ext cx="2348192" cy="974915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4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2667599" y="1107885"/>
            <a:ext cx="2348192" cy="974915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4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5058299" y="1107885"/>
            <a:ext cx="2348192" cy="974915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4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4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7448999" y="1107885"/>
            <a:ext cx="2348192" cy="974915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4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</p:spTree>
    <p:extLst>
      <p:ext uri="{BB962C8B-B14F-4D97-AF65-F5344CB8AC3E}">
        <p14:creationId xmlns:p14="http://schemas.microsoft.com/office/powerpoint/2010/main" val="40673060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шагов процесс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7825274" y="2188633"/>
            <a:ext cx="1778595" cy="4022407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10" name="Текст 2"/>
          <p:cNvSpPr>
            <a:spLocks noGrp="1"/>
          </p:cNvSpPr>
          <p:nvPr>
            <p:ph type="body" idx="17" hasCustomPrompt="1"/>
          </p:nvPr>
        </p:nvSpPr>
        <p:spPr>
          <a:xfrm>
            <a:off x="276900" y="1107885"/>
            <a:ext cx="1885690" cy="974915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4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2" name="Текст 2"/>
          <p:cNvSpPr>
            <a:spLocks noGrp="1"/>
          </p:cNvSpPr>
          <p:nvPr>
            <p:ph type="body" idx="18" hasCustomPrompt="1"/>
          </p:nvPr>
        </p:nvSpPr>
        <p:spPr>
          <a:xfrm>
            <a:off x="2162590" y="1107885"/>
            <a:ext cx="1885690" cy="974915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4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3" name="Текст 2"/>
          <p:cNvSpPr>
            <a:spLocks noGrp="1"/>
          </p:cNvSpPr>
          <p:nvPr>
            <p:ph type="body" idx="19" hasCustomPrompt="1"/>
          </p:nvPr>
        </p:nvSpPr>
        <p:spPr>
          <a:xfrm>
            <a:off x="4056860" y="1107885"/>
            <a:ext cx="1885690" cy="974915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4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4" name="Текст 2"/>
          <p:cNvSpPr>
            <a:spLocks noGrp="1"/>
          </p:cNvSpPr>
          <p:nvPr>
            <p:ph type="body" idx="20" hasCustomPrompt="1"/>
          </p:nvPr>
        </p:nvSpPr>
        <p:spPr>
          <a:xfrm>
            <a:off x="5951130" y="1107885"/>
            <a:ext cx="1885690" cy="974915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4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14" name="Текст 2"/>
          <p:cNvSpPr>
            <a:spLocks noGrp="1"/>
          </p:cNvSpPr>
          <p:nvPr>
            <p:ph type="body" idx="21" hasCustomPrompt="1"/>
          </p:nvPr>
        </p:nvSpPr>
        <p:spPr>
          <a:xfrm>
            <a:off x="7836820" y="1105013"/>
            <a:ext cx="1885690" cy="974915"/>
          </a:xfrm>
          <a:prstGeom prst="chevron">
            <a:avLst>
              <a:gd name="adj" fmla="val 16732"/>
            </a:avLst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txBody>
          <a:bodyPr lIns="36000" anchor="ctr"/>
          <a:lstStyle>
            <a:lvl1pPr marL="0" indent="0">
              <a:buNone/>
              <a:defRPr sz="1400" b="1" cap="none" baseline="0">
                <a:solidFill>
                  <a:schemeClr val="accent1"/>
                </a:solidFill>
              </a:defRPr>
            </a:lvl1pPr>
            <a:lvl2pPr marL="389512" indent="0">
              <a:buNone/>
              <a:defRPr sz="1700" b="1"/>
            </a:lvl2pPr>
            <a:lvl3pPr marL="779025" indent="0">
              <a:buNone/>
              <a:defRPr sz="1500" b="1"/>
            </a:lvl3pPr>
            <a:lvl4pPr marL="1168538" indent="0">
              <a:buNone/>
              <a:defRPr sz="1400" b="1"/>
            </a:lvl4pPr>
            <a:lvl5pPr marL="1558051" indent="0">
              <a:buNone/>
              <a:defRPr sz="1400" b="1"/>
            </a:lvl5pPr>
            <a:lvl6pPr marL="1947563" indent="0">
              <a:buNone/>
              <a:defRPr sz="1400" b="1"/>
            </a:lvl6pPr>
            <a:lvl7pPr marL="2337078" indent="0">
              <a:buNone/>
              <a:defRPr sz="1400" b="1"/>
            </a:lvl7pPr>
            <a:lvl8pPr marL="2726589" indent="0">
              <a:buNone/>
              <a:defRPr sz="1400" b="1"/>
            </a:lvl8pPr>
            <a:lvl9pPr marL="3116102" indent="0">
              <a:buNone/>
              <a:defRPr sz="1400" b="1"/>
            </a:lvl9pPr>
          </a:lstStyle>
          <a:p>
            <a:pPr lvl="0"/>
            <a:r>
              <a:rPr lang="ru-RU" dirty="0"/>
              <a:t>Название шага процесса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76900" y="2188633"/>
            <a:ext cx="1778595" cy="4022407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2171170" y="2188633"/>
            <a:ext cx="1778595" cy="4022407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4068404" y="2188633"/>
            <a:ext cx="1778595" cy="4022407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26" name="Text Placeholder 7">
            <a:extLst>
              <a:ext uri="{FF2B5EF4-FFF2-40B4-BE49-F238E27FC236}">
                <a16:creationId xmlns:a16="http://schemas.microsoft.com/office/drawing/2014/main" id="{A9423FA0-E55A-4DA4-9315-C648399DFB49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5951129" y="2188633"/>
            <a:ext cx="1778595" cy="4022407"/>
          </a:xfrm>
        </p:spPr>
        <p:txBody>
          <a:bodyPr/>
          <a:lstStyle>
            <a:lvl1pPr>
              <a:defRPr lang="en-US" sz="14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8900" indent="-88900">
              <a:defRPr lang="en-US" sz="11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6700" indent="-87313">
              <a:defRPr lang="en-US" sz="105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50850" indent="-90488">
              <a:defRPr lang="en-US" sz="10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27063" indent="-87313">
              <a:defRPr lang="ru-RU" sz="9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11868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оцесс по кругу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3"/>
          </p:nvPr>
        </p:nvSpPr>
        <p:spPr>
          <a:xfrm>
            <a:off x="276887" y="1429109"/>
            <a:ext cx="2942563" cy="2114551"/>
          </a:xfrm>
        </p:spPr>
        <p:txBody>
          <a:bodyPr lIns="108000" tIns="36000" rIns="72000" bIns="36000" anchor="ctr"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19"/>
          <p:cNvSpPr>
            <a:spLocks noGrp="1"/>
          </p:cNvSpPr>
          <p:nvPr>
            <p:ph type="body" sz="quarter" idx="14"/>
          </p:nvPr>
        </p:nvSpPr>
        <p:spPr>
          <a:xfrm>
            <a:off x="276887" y="3786291"/>
            <a:ext cx="2942563" cy="2114551"/>
          </a:xfrm>
        </p:spPr>
        <p:txBody>
          <a:bodyPr lIns="108000" tIns="36000" rIns="72000" bIns="36000" anchor="ctr"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19"/>
          <p:cNvSpPr>
            <a:spLocks noGrp="1"/>
          </p:cNvSpPr>
          <p:nvPr>
            <p:ph type="body" sz="quarter" idx="15"/>
          </p:nvPr>
        </p:nvSpPr>
        <p:spPr>
          <a:xfrm>
            <a:off x="6707439" y="1429109"/>
            <a:ext cx="2942563" cy="2114551"/>
          </a:xfrm>
        </p:spPr>
        <p:txBody>
          <a:bodyPr lIns="108000" tIns="36000" rIns="72000" bIns="36000" anchor="ctr"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3" name="Текст 19"/>
          <p:cNvSpPr>
            <a:spLocks noGrp="1"/>
          </p:cNvSpPr>
          <p:nvPr>
            <p:ph type="body" sz="quarter" idx="16"/>
          </p:nvPr>
        </p:nvSpPr>
        <p:spPr>
          <a:xfrm>
            <a:off x="6707439" y="3786291"/>
            <a:ext cx="2942563" cy="2114551"/>
          </a:xfrm>
        </p:spPr>
        <p:txBody>
          <a:bodyPr lIns="108000" tIns="36000" rIns="72000" bIns="36000" anchor="ctr"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4" name="Арка 23"/>
          <p:cNvSpPr/>
          <p:nvPr/>
        </p:nvSpPr>
        <p:spPr bwMode="auto">
          <a:xfrm>
            <a:off x="3589316" y="2272830"/>
            <a:ext cx="2799399" cy="2799402"/>
          </a:xfrm>
          <a:prstGeom prst="blockArc">
            <a:avLst>
              <a:gd name="adj1" fmla="val 16191914"/>
              <a:gd name="adj2" fmla="val 21585580"/>
              <a:gd name="adj3" fmla="val 13524"/>
            </a:avLst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5" name="Арка 24"/>
          <p:cNvSpPr/>
          <p:nvPr/>
        </p:nvSpPr>
        <p:spPr bwMode="auto">
          <a:xfrm rot="5400000">
            <a:off x="3589314" y="2272832"/>
            <a:ext cx="2799402" cy="2799399"/>
          </a:xfrm>
          <a:prstGeom prst="blockArc">
            <a:avLst>
              <a:gd name="adj1" fmla="val 16191914"/>
              <a:gd name="adj2" fmla="val 21585580"/>
              <a:gd name="adj3" fmla="val 13524"/>
            </a:avLst>
          </a:prstGeom>
          <a:solidFill>
            <a:schemeClr val="accent1">
              <a:lumMod val="20000"/>
              <a:lumOff val="8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6" name="Арка 25"/>
          <p:cNvSpPr/>
          <p:nvPr/>
        </p:nvSpPr>
        <p:spPr bwMode="auto">
          <a:xfrm rot="10800000">
            <a:off x="3589316" y="2272830"/>
            <a:ext cx="2799399" cy="2799402"/>
          </a:xfrm>
          <a:prstGeom prst="blockArc">
            <a:avLst>
              <a:gd name="adj1" fmla="val 16191914"/>
              <a:gd name="adj2" fmla="val 21585580"/>
              <a:gd name="adj3" fmla="val 13524"/>
            </a:avLst>
          </a:prstGeom>
          <a:solidFill>
            <a:schemeClr val="accent5">
              <a:lumMod val="7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 sz="1800" b="1">
              <a:latin typeface="Arial" charset="0"/>
            </a:endParaRPr>
          </a:p>
        </p:txBody>
      </p:sp>
      <p:sp>
        <p:nvSpPr>
          <p:cNvPr id="27" name="Арка 26"/>
          <p:cNvSpPr/>
          <p:nvPr/>
        </p:nvSpPr>
        <p:spPr bwMode="auto">
          <a:xfrm rot="16200000">
            <a:off x="3589314" y="2272832"/>
            <a:ext cx="2799402" cy="2799399"/>
          </a:xfrm>
          <a:prstGeom prst="blockArc">
            <a:avLst>
              <a:gd name="adj1" fmla="val 16191914"/>
              <a:gd name="adj2" fmla="val 21585580"/>
              <a:gd name="adj3" fmla="val 13524"/>
            </a:avLst>
          </a:prstGeom>
          <a:solidFill>
            <a:schemeClr val="accent5">
              <a:lumMod val="60000"/>
              <a:lumOff val="4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8" name="Нашивка 14"/>
          <p:cNvSpPr/>
          <p:nvPr/>
        </p:nvSpPr>
        <p:spPr bwMode="auto">
          <a:xfrm>
            <a:off x="4855949" y="2272830"/>
            <a:ext cx="252000" cy="396000"/>
          </a:xfrm>
          <a:prstGeom prst="chevron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9" name="Нашивка 15"/>
          <p:cNvSpPr/>
          <p:nvPr/>
        </p:nvSpPr>
        <p:spPr bwMode="auto">
          <a:xfrm rot="5400000">
            <a:off x="6064715" y="3470226"/>
            <a:ext cx="252000" cy="396000"/>
          </a:xfrm>
          <a:prstGeom prst="chevron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0" name="Нашивка 16"/>
          <p:cNvSpPr/>
          <p:nvPr/>
        </p:nvSpPr>
        <p:spPr bwMode="auto">
          <a:xfrm flipH="1">
            <a:off x="4883245" y="4676233"/>
            <a:ext cx="252000" cy="396000"/>
          </a:xfrm>
          <a:prstGeom prst="chevron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1" name="Нашивка 17"/>
          <p:cNvSpPr/>
          <p:nvPr/>
        </p:nvSpPr>
        <p:spPr bwMode="auto">
          <a:xfrm rot="16200000">
            <a:off x="3654491" y="3484359"/>
            <a:ext cx="252000" cy="396000"/>
          </a:xfrm>
          <a:prstGeom prst="chevron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E97B8803-CFBE-46D2-94F3-1E13B37C26DB}"/>
              </a:ext>
            </a:extLst>
          </p:cNvPr>
          <p:cNvSpPr/>
          <p:nvPr/>
        </p:nvSpPr>
        <p:spPr bwMode="auto">
          <a:xfrm>
            <a:off x="3245323" y="2001674"/>
            <a:ext cx="733167" cy="760576"/>
          </a:xfrm>
          <a:custGeom>
            <a:avLst/>
            <a:gdLst>
              <a:gd name="connsiteX0" fmla="*/ 491319 w 491319"/>
              <a:gd name="connsiteY0" fmla="*/ 368489 h 368489"/>
              <a:gd name="connsiteX1" fmla="*/ 491319 w 491319"/>
              <a:gd name="connsiteY1" fmla="*/ 0 h 368489"/>
              <a:gd name="connsiteX2" fmla="*/ 0 w 491319"/>
              <a:gd name="connsiteY2" fmla="*/ 0 h 368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1319" h="368489">
                <a:moveTo>
                  <a:pt x="491319" y="368489"/>
                </a:moveTo>
                <a:lnTo>
                  <a:pt x="491319" y="0"/>
                </a:lnTo>
                <a:lnTo>
                  <a:pt x="0" y="0"/>
                </a:lnTo>
              </a:path>
            </a:pathLst>
          </a:cu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7" name="Freeform: Shape 36">
            <a:extLst>
              <a:ext uri="{FF2B5EF4-FFF2-40B4-BE49-F238E27FC236}">
                <a16:creationId xmlns:a16="http://schemas.microsoft.com/office/drawing/2014/main" id="{85FFE1BE-F468-41E4-AC57-73F3A5F795C0}"/>
              </a:ext>
            </a:extLst>
          </p:cNvPr>
          <p:cNvSpPr/>
          <p:nvPr/>
        </p:nvSpPr>
        <p:spPr bwMode="auto">
          <a:xfrm flipH="1">
            <a:off x="6057851" y="2001672"/>
            <a:ext cx="640439" cy="836777"/>
          </a:xfrm>
          <a:custGeom>
            <a:avLst/>
            <a:gdLst>
              <a:gd name="connsiteX0" fmla="*/ 491319 w 491319"/>
              <a:gd name="connsiteY0" fmla="*/ 368489 h 368489"/>
              <a:gd name="connsiteX1" fmla="*/ 491319 w 491319"/>
              <a:gd name="connsiteY1" fmla="*/ 0 h 368489"/>
              <a:gd name="connsiteX2" fmla="*/ 0 w 491319"/>
              <a:gd name="connsiteY2" fmla="*/ 0 h 368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1319" h="368489">
                <a:moveTo>
                  <a:pt x="491319" y="368489"/>
                </a:moveTo>
                <a:lnTo>
                  <a:pt x="491319" y="0"/>
                </a:lnTo>
                <a:lnTo>
                  <a:pt x="0" y="0"/>
                </a:lnTo>
              </a:path>
            </a:pathLst>
          </a:cu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6" name="Freeform: Shape 35">
            <a:extLst>
              <a:ext uri="{FF2B5EF4-FFF2-40B4-BE49-F238E27FC236}">
                <a16:creationId xmlns:a16="http://schemas.microsoft.com/office/drawing/2014/main" id="{E32EE881-8F18-4976-B14A-133BBEF93D70}"/>
              </a:ext>
            </a:extLst>
          </p:cNvPr>
          <p:cNvSpPr/>
          <p:nvPr/>
        </p:nvSpPr>
        <p:spPr bwMode="auto">
          <a:xfrm flipV="1">
            <a:off x="3245324" y="4556668"/>
            <a:ext cx="781144" cy="724095"/>
          </a:xfrm>
          <a:custGeom>
            <a:avLst/>
            <a:gdLst>
              <a:gd name="connsiteX0" fmla="*/ 491319 w 491319"/>
              <a:gd name="connsiteY0" fmla="*/ 368489 h 368489"/>
              <a:gd name="connsiteX1" fmla="*/ 491319 w 491319"/>
              <a:gd name="connsiteY1" fmla="*/ 0 h 368489"/>
              <a:gd name="connsiteX2" fmla="*/ 0 w 491319"/>
              <a:gd name="connsiteY2" fmla="*/ 0 h 368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1319" h="368489">
                <a:moveTo>
                  <a:pt x="491319" y="368489"/>
                </a:moveTo>
                <a:lnTo>
                  <a:pt x="491319" y="0"/>
                </a:lnTo>
                <a:lnTo>
                  <a:pt x="0" y="0"/>
                </a:lnTo>
              </a:path>
            </a:pathLst>
          </a:cu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E57AF606-9A31-48E6-BA8D-C5D2AD7F0440}"/>
              </a:ext>
            </a:extLst>
          </p:cNvPr>
          <p:cNvSpPr/>
          <p:nvPr/>
        </p:nvSpPr>
        <p:spPr bwMode="auto">
          <a:xfrm flipH="1" flipV="1">
            <a:off x="5958385" y="4556674"/>
            <a:ext cx="739906" cy="724089"/>
          </a:xfrm>
          <a:custGeom>
            <a:avLst/>
            <a:gdLst>
              <a:gd name="connsiteX0" fmla="*/ 491319 w 491319"/>
              <a:gd name="connsiteY0" fmla="*/ 368489 h 368489"/>
              <a:gd name="connsiteX1" fmla="*/ 491319 w 491319"/>
              <a:gd name="connsiteY1" fmla="*/ 0 h 368489"/>
              <a:gd name="connsiteX2" fmla="*/ 0 w 491319"/>
              <a:gd name="connsiteY2" fmla="*/ 0 h 368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91319" h="368489">
                <a:moveTo>
                  <a:pt x="491319" y="368489"/>
                </a:moveTo>
                <a:lnTo>
                  <a:pt x="491319" y="0"/>
                </a:lnTo>
                <a:lnTo>
                  <a:pt x="0" y="0"/>
                </a:lnTo>
              </a:path>
            </a:pathLst>
          </a:cu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5896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фото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Рисунок 13"/>
          <p:cNvSpPr>
            <a:spLocks noGrp="1"/>
          </p:cNvSpPr>
          <p:nvPr>
            <p:ph type="pic" sz="quarter" idx="15" hasCustomPrompt="1"/>
          </p:nvPr>
        </p:nvSpPr>
        <p:spPr>
          <a:xfrm>
            <a:off x="6042049" y="0"/>
            <a:ext cx="3863951" cy="6858000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5516177"/>
              </p:ext>
            </p:ext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522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71979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9938897" y="4"/>
            <a:ext cx="3013327" cy="6857999"/>
          </a:xfrm>
          <a:prstGeom prst="rect">
            <a:avLst/>
          </a:prstGeom>
          <a:solidFill>
            <a:srgbClr val="2D8797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10019846" y="91099"/>
            <a:ext cx="409056" cy="582612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10019846" y="1256321"/>
            <a:ext cx="409056" cy="58420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10019846" y="673712"/>
            <a:ext cx="409056" cy="582613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10019846" y="4490076"/>
            <a:ext cx="409056" cy="582613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10019846" y="2164372"/>
            <a:ext cx="409056" cy="58420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10019846" y="2742223"/>
            <a:ext cx="409056" cy="582612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10019846" y="3324840"/>
            <a:ext cx="409056" cy="582613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10019846" y="39074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10019846" y="5072672"/>
            <a:ext cx="409056" cy="58420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10019846" y="5656872"/>
            <a:ext cx="409056" cy="58420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10019849" y="1256321"/>
            <a:ext cx="409056" cy="58420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10019849" y="673712"/>
            <a:ext cx="409056" cy="582613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10019849" y="4490080"/>
            <a:ext cx="409056" cy="582613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0" name="Прямоугольник 59"/>
          <p:cNvSpPr/>
          <p:nvPr/>
        </p:nvSpPr>
        <p:spPr>
          <a:xfrm>
            <a:off x="10019849" y="2164372"/>
            <a:ext cx="409056" cy="58420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10019849" y="2742223"/>
            <a:ext cx="409056" cy="582612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62" name="Прямоугольник 61"/>
          <p:cNvSpPr/>
          <p:nvPr/>
        </p:nvSpPr>
        <p:spPr>
          <a:xfrm>
            <a:off x="10019849" y="3324840"/>
            <a:ext cx="409056" cy="582613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63" name="Прямоугольник 62"/>
          <p:cNvSpPr/>
          <p:nvPr/>
        </p:nvSpPr>
        <p:spPr>
          <a:xfrm>
            <a:off x="10019849" y="39074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10019849" y="5072672"/>
            <a:ext cx="409056" cy="58420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65" name="Прямоугольник 64"/>
          <p:cNvSpPr/>
          <p:nvPr/>
        </p:nvSpPr>
        <p:spPr>
          <a:xfrm>
            <a:off x="10019849" y="5656872"/>
            <a:ext cx="409056" cy="58420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66" name="Прямая соединительная линия 65"/>
          <p:cNvCxnSpPr/>
          <p:nvPr/>
        </p:nvCxnSpPr>
        <p:spPr bwMode="auto">
          <a:xfrm>
            <a:off x="10558274" y="592667"/>
            <a:ext cx="222197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5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611525" y="3848183"/>
            <a:ext cx="5357820" cy="1032429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</a:t>
            </a:r>
            <a:r>
              <a:rPr lang="ru-RU" dirty="0" smtClean="0"/>
              <a:t>Фамилия</a:t>
            </a:r>
            <a:br>
              <a:rPr lang="ru-RU" dirty="0" smtClean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Компания </a:t>
            </a:r>
            <a:r>
              <a:rPr lang="ru-RU" dirty="0"/>
              <a:t>/ функция / направление</a:t>
            </a:r>
          </a:p>
        </p:txBody>
      </p:sp>
      <p:sp>
        <p:nvSpPr>
          <p:cNvPr id="36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611527" y="5194390"/>
            <a:ext cx="5350757" cy="68168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</a:t>
            </a:r>
            <a:r>
              <a:rPr lang="ru-RU" dirty="0" smtClean="0"/>
              <a:t>мероприятия</a:t>
            </a:r>
            <a:br>
              <a:rPr lang="ru-RU" dirty="0" smtClean="0"/>
            </a:br>
            <a:r>
              <a:rPr lang="ru-RU" dirty="0" smtClean="0"/>
              <a:t>Дата </a:t>
            </a:r>
            <a:r>
              <a:rPr lang="ru-RU" dirty="0"/>
              <a:t>проведения</a:t>
            </a:r>
          </a:p>
        </p:txBody>
      </p:sp>
      <p:sp>
        <p:nvSpPr>
          <p:cNvPr id="3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11525" y="1544017"/>
            <a:ext cx="5373979" cy="196126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1525" y="460784"/>
            <a:ext cx="1085631" cy="20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823958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оцесс по кругу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Группа 30"/>
          <p:cNvGrpSpPr>
            <a:grpSpLocks noChangeAspect="1"/>
          </p:cNvGrpSpPr>
          <p:nvPr/>
        </p:nvGrpSpPr>
        <p:grpSpPr>
          <a:xfrm rot="1829240">
            <a:off x="3404199" y="2186899"/>
            <a:ext cx="3215225" cy="3132000"/>
            <a:chOff x="62794" y="1435622"/>
            <a:chExt cx="2880788" cy="2806226"/>
          </a:xfrm>
        </p:grpSpPr>
        <p:sp>
          <p:nvSpPr>
            <p:cNvPr id="32" name="Арка 31"/>
            <p:cNvSpPr/>
            <p:nvPr/>
          </p:nvSpPr>
          <p:spPr bwMode="auto">
            <a:xfrm rot="16200000">
              <a:off x="96913" y="1442446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3" name="Арка 32"/>
            <p:cNvSpPr/>
            <p:nvPr/>
          </p:nvSpPr>
          <p:spPr bwMode="auto">
            <a:xfrm rot="-1800000">
              <a:off x="97612" y="1435622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1">
                <a:lumMod val="50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4" name="Арка 33"/>
            <p:cNvSpPr/>
            <p:nvPr/>
          </p:nvSpPr>
          <p:spPr bwMode="auto">
            <a:xfrm rot="1800000">
              <a:off x="104438" y="1435622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1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35" name="Арка 34"/>
            <p:cNvSpPr/>
            <p:nvPr/>
          </p:nvSpPr>
          <p:spPr bwMode="auto">
            <a:xfrm rot="5400000">
              <a:off x="107411" y="1442447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2" name="Арка 41"/>
            <p:cNvSpPr/>
            <p:nvPr/>
          </p:nvSpPr>
          <p:spPr bwMode="auto">
            <a:xfrm rot="9000000">
              <a:off x="104437" y="1442447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accent5">
                <a:lumMod val="7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4" name="Арка 43"/>
            <p:cNvSpPr/>
            <p:nvPr/>
          </p:nvSpPr>
          <p:spPr bwMode="auto">
            <a:xfrm rot="12600000">
              <a:off x="96912" y="1442447"/>
              <a:ext cx="2799402" cy="2799399"/>
            </a:xfrm>
            <a:prstGeom prst="blockArc">
              <a:avLst>
                <a:gd name="adj1" fmla="val 16191914"/>
                <a:gd name="adj2" fmla="val 19812983"/>
                <a:gd name="adj3" fmla="val 11905"/>
              </a:avLst>
            </a:prstGeom>
            <a:solidFill>
              <a:schemeClr val="bg1">
                <a:lumMod val="65000"/>
              </a:scheme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5" name="Нашивка 26"/>
            <p:cNvSpPr/>
            <p:nvPr/>
          </p:nvSpPr>
          <p:spPr bwMode="auto">
            <a:xfrm rot="-1800000">
              <a:off x="736085" y="1578379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6" name="Нашивка 27"/>
            <p:cNvSpPr/>
            <p:nvPr/>
          </p:nvSpPr>
          <p:spPr bwMode="auto">
            <a:xfrm rot="1800000">
              <a:off x="1984852" y="1573617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7" name="Нашивка 28"/>
            <p:cNvSpPr/>
            <p:nvPr/>
          </p:nvSpPr>
          <p:spPr bwMode="auto">
            <a:xfrm rot="5400000">
              <a:off x="2619582" y="2644146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8" name="Нашивка 29"/>
            <p:cNvSpPr/>
            <p:nvPr/>
          </p:nvSpPr>
          <p:spPr bwMode="auto">
            <a:xfrm rot="9000000">
              <a:off x="1984852" y="3716435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49" name="Нашивка 30"/>
            <p:cNvSpPr/>
            <p:nvPr/>
          </p:nvSpPr>
          <p:spPr bwMode="auto">
            <a:xfrm rot="16200000">
              <a:off x="134794" y="2637322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0" name="Нашивка 31"/>
            <p:cNvSpPr/>
            <p:nvPr/>
          </p:nvSpPr>
          <p:spPr bwMode="auto">
            <a:xfrm rot="-9000000">
              <a:off x="763382" y="3707324"/>
              <a:ext cx="252000" cy="396000"/>
            </a:xfrm>
            <a:prstGeom prst="chevron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r>
              <a:rPr lang="ru-RU"/>
              <a:t>23.06.2020</a:t>
            </a:r>
          </a:p>
        </p:txBody>
      </p:sp>
      <p:cxnSp>
        <p:nvCxnSpPr>
          <p:cNvPr id="20" name="Соединительная линия уступом 19"/>
          <p:cNvCxnSpPr>
            <a:endCxn id="38" idx="3"/>
          </p:cNvCxnSpPr>
          <p:nvPr/>
        </p:nvCxnSpPr>
        <p:spPr bwMode="auto">
          <a:xfrm rot="10800000" flipV="1">
            <a:off x="2771942" y="4874182"/>
            <a:ext cx="1224272" cy="621223"/>
          </a:xfrm>
          <a:prstGeom prst="bentConnector3">
            <a:avLst>
              <a:gd name="adj1" fmla="val 50000"/>
            </a:avLst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21" name="Соединительная линия уступом 20"/>
          <p:cNvCxnSpPr>
            <a:endCxn id="36" idx="3"/>
          </p:cNvCxnSpPr>
          <p:nvPr/>
        </p:nvCxnSpPr>
        <p:spPr bwMode="auto">
          <a:xfrm rot="10800000">
            <a:off x="2771940" y="1964435"/>
            <a:ext cx="1221575" cy="708003"/>
          </a:xfrm>
          <a:prstGeom prst="bentConnector3">
            <a:avLst>
              <a:gd name="adj1" fmla="val 50000"/>
            </a:avLst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sp>
        <p:nvSpPr>
          <p:cNvPr id="36" name="Текст 35"/>
          <p:cNvSpPr>
            <a:spLocks noGrp="1"/>
          </p:cNvSpPr>
          <p:nvPr>
            <p:ph type="body" sz="quarter" idx="25"/>
          </p:nvPr>
        </p:nvSpPr>
        <p:spPr>
          <a:xfrm>
            <a:off x="276900" y="1171743"/>
            <a:ext cx="2495040" cy="1585384"/>
          </a:xfrm>
        </p:spPr>
        <p:txBody>
          <a:bodyPr lIns="0" tIns="36000" rIns="72000" bIns="36000" anchor="ctr"/>
          <a:lstStyle>
            <a:lvl1pPr algn="r">
              <a:defRPr sz="1400"/>
            </a:lvl1pPr>
            <a:lvl2pPr algn="r">
              <a:defRPr sz="1200"/>
            </a:lvl2pPr>
            <a:lvl3pPr algn="r">
              <a:defRPr sz="1000"/>
            </a:lvl3pPr>
            <a:lvl4pPr algn="r">
              <a:defRPr sz="1000"/>
            </a:lvl4pPr>
            <a:lvl5pPr algn="r">
              <a:defRPr sz="10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7" name="Текст 35"/>
          <p:cNvSpPr>
            <a:spLocks noGrp="1"/>
          </p:cNvSpPr>
          <p:nvPr>
            <p:ph type="body" sz="quarter" idx="26"/>
          </p:nvPr>
        </p:nvSpPr>
        <p:spPr>
          <a:xfrm>
            <a:off x="276900" y="2937228"/>
            <a:ext cx="2495040" cy="1585384"/>
          </a:xfrm>
        </p:spPr>
        <p:txBody>
          <a:bodyPr lIns="0" tIns="36000" rIns="72000" bIns="36000" anchor="ctr"/>
          <a:lstStyle>
            <a:lvl1pPr algn="r">
              <a:defRPr sz="1400"/>
            </a:lvl1pPr>
            <a:lvl2pPr algn="r">
              <a:defRPr sz="1200"/>
            </a:lvl2pPr>
            <a:lvl3pPr algn="r">
              <a:defRPr sz="1000"/>
            </a:lvl3pPr>
            <a:lvl4pPr algn="r">
              <a:defRPr sz="1000"/>
            </a:lvl4pPr>
            <a:lvl5pPr algn="r">
              <a:defRPr sz="10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8" name="Текст 35"/>
          <p:cNvSpPr>
            <a:spLocks noGrp="1"/>
          </p:cNvSpPr>
          <p:nvPr>
            <p:ph type="body" sz="quarter" idx="27"/>
          </p:nvPr>
        </p:nvSpPr>
        <p:spPr>
          <a:xfrm>
            <a:off x="276900" y="4702713"/>
            <a:ext cx="2495040" cy="1585384"/>
          </a:xfrm>
        </p:spPr>
        <p:txBody>
          <a:bodyPr lIns="0" tIns="36000" rIns="72000" bIns="36000" anchor="ctr"/>
          <a:lstStyle>
            <a:lvl1pPr algn="r">
              <a:defRPr sz="1400"/>
            </a:lvl1pPr>
            <a:lvl2pPr algn="r">
              <a:defRPr sz="1200"/>
            </a:lvl2pPr>
            <a:lvl3pPr algn="r">
              <a:defRPr sz="1000"/>
            </a:lvl3pPr>
            <a:lvl4pPr algn="r">
              <a:defRPr sz="1000"/>
            </a:lvl4pPr>
            <a:lvl5pPr algn="r">
              <a:defRPr sz="10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9" name="Текст 35"/>
          <p:cNvSpPr>
            <a:spLocks noGrp="1"/>
          </p:cNvSpPr>
          <p:nvPr>
            <p:ph type="body" sz="quarter" idx="28"/>
          </p:nvPr>
        </p:nvSpPr>
        <p:spPr>
          <a:xfrm>
            <a:off x="7104760" y="1171743"/>
            <a:ext cx="2528240" cy="1585384"/>
          </a:xfrm>
        </p:spPr>
        <p:txBody>
          <a:bodyPr lIns="72000" tIns="36000" rIns="72000" bIns="36000" anchor="ctr"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0" name="Текст 35"/>
          <p:cNvSpPr>
            <a:spLocks noGrp="1"/>
          </p:cNvSpPr>
          <p:nvPr>
            <p:ph type="body" sz="quarter" idx="29"/>
          </p:nvPr>
        </p:nvSpPr>
        <p:spPr>
          <a:xfrm>
            <a:off x="7104760" y="2937228"/>
            <a:ext cx="2528240" cy="1585384"/>
          </a:xfrm>
        </p:spPr>
        <p:txBody>
          <a:bodyPr lIns="72000" tIns="36000" rIns="72000" bIns="36000" anchor="ctr"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35"/>
          <p:cNvSpPr>
            <a:spLocks noGrp="1"/>
          </p:cNvSpPr>
          <p:nvPr>
            <p:ph type="body" sz="quarter" idx="30"/>
          </p:nvPr>
        </p:nvSpPr>
        <p:spPr>
          <a:xfrm>
            <a:off x="7104760" y="4702713"/>
            <a:ext cx="2528240" cy="1585384"/>
          </a:xfrm>
        </p:spPr>
        <p:txBody>
          <a:bodyPr lIns="72000" tIns="36000" rIns="72000" bIns="36000" anchor="ctr"/>
          <a:lstStyle>
            <a:lvl1pPr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cxnSp>
        <p:nvCxnSpPr>
          <p:cNvPr id="43" name="Соединительная линия уступом 42"/>
          <p:cNvCxnSpPr>
            <a:endCxn id="41" idx="1"/>
          </p:cNvCxnSpPr>
          <p:nvPr/>
        </p:nvCxnSpPr>
        <p:spPr bwMode="auto">
          <a:xfrm>
            <a:off x="6027407" y="4905005"/>
            <a:ext cx="1077353" cy="590401"/>
          </a:xfrm>
          <a:prstGeom prst="bentConnector3">
            <a:avLst>
              <a:gd name="adj1" fmla="val 50000"/>
            </a:avLst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51" name="Соединительная линия уступом 50"/>
          <p:cNvCxnSpPr>
            <a:stCxn id="39" idx="1"/>
          </p:cNvCxnSpPr>
          <p:nvPr/>
        </p:nvCxnSpPr>
        <p:spPr bwMode="auto">
          <a:xfrm rot="10800000" flipV="1">
            <a:off x="6013549" y="1964435"/>
            <a:ext cx="1091211" cy="720389"/>
          </a:xfrm>
          <a:prstGeom prst="bentConnector3">
            <a:avLst>
              <a:gd name="adj1" fmla="val 50000"/>
            </a:avLst>
          </a:prstGeom>
          <a:solidFill>
            <a:schemeClr val="accent1"/>
          </a:solidFill>
          <a:ln w="317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>
            <a:cxnSpLocks/>
          </p:cNvCxnSpPr>
          <p:nvPr/>
        </p:nvCxnSpPr>
        <p:spPr bwMode="auto">
          <a:xfrm flipH="1">
            <a:off x="2803088" y="3729920"/>
            <a:ext cx="800697" cy="0"/>
          </a:xfrm>
          <a:prstGeom prst="line">
            <a:avLst/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  <p:cxnSp>
        <p:nvCxnSpPr>
          <p:cNvPr id="52" name="Прямая соединительная линия 51"/>
          <p:cNvCxnSpPr>
            <a:cxnSpLocks/>
          </p:cNvCxnSpPr>
          <p:nvPr/>
        </p:nvCxnSpPr>
        <p:spPr bwMode="auto">
          <a:xfrm flipH="1">
            <a:off x="6403730" y="3729920"/>
            <a:ext cx="681418" cy="0"/>
          </a:xfrm>
          <a:prstGeom prst="line">
            <a:avLst/>
          </a:prstGeom>
          <a:noFill/>
          <a:ln w="3175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oval" w="med" len="med"/>
            <a:tailEnd type="oval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9427149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фото внизу (рамка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092358"/>
              </p:ext>
            </p:ext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5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2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426335" y="4125702"/>
            <a:ext cx="9116029" cy="2309825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66" name="Прямоугольник 65"/>
          <p:cNvSpPr/>
          <p:nvPr/>
        </p:nvSpPr>
        <p:spPr>
          <a:xfrm>
            <a:off x="9938897" y="4"/>
            <a:ext cx="3013327" cy="6857999"/>
          </a:xfrm>
          <a:prstGeom prst="rect">
            <a:avLst/>
          </a:prstGeom>
          <a:solidFill>
            <a:srgbClr val="2D8797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10019846" y="91099"/>
            <a:ext cx="409056" cy="582612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10019846" y="1256321"/>
            <a:ext cx="409056" cy="58420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10019846" y="673712"/>
            <a:ext cx="409056" cy="582613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10019846" y="4490076"/>
            <a:ext cx="409056" cy="582613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10019846" y="2164372"/>
            <a:ext cx="409056" cy="58420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10019846" y="2742223"/>
            <a:ext cx="409056" cy="582612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10019846" y="3324840"/>
            <a:ext cx="409056" cy="582613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10019846" y="39074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5" name="Прямоугольник 74"/>
          <p:cNvSpPr/>
          <p:nvPr/>
        </p:nvSpPr>
        <p:spPr>
          <a:xfrm>
            <a:off x="10019846" y="5072672"/>
            <a:ext cx="409056" cy="58420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76" name="Прямоугольник 75"/>
          <p:cNvSpPr/>
          <p:nvPr/>
        </p:nvSpPr>
        <p:spPr>
          <a:xfrm>
            <a:off x="10019846" y="5656872"/>
            <a:ext cx="409056" cy="58420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10019849" y="1256321"/>
            <a:ext cx="409056" cy="58420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10019849" y="673712"/>
            <a:ext cx="409056" cy="582613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10019849" y="4490080"/>
            <a:ext cx="409056" cy="582613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10019849" y="2164372"/>
            <a:ext cx="409056" cy="58420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1" name="Прямоугольник 80"/>
          <p:cNvSpPr/>
          <p:nvPr/>
        </p:nvSpPr>
        <p:spPr>
          <a:xfrm>
            <a:off x="10019849" y="2742223"/>
            <a:ext cx="409056" cy="582612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10019849" y="3324840"/>
            <a:ext cx="409056" cy="582613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10019849" y="39074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10019849" y="5072672"/>
            <a:ext cx="409056" cy="58420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10019849" y="5656872"/>
            <a:ext cx="409056" cy="58420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86" name="Прямая соединительная линия 85"/>
          <p:cNvCxnSpPr/>
          <p:nvPr/>
        </p:nvCxnSpPr>
        <p:spPr bwMode="auto">
          <a:xfrm>
            <a:off x="10558274" y="592667"/>
            <a:ext cx="222197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5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7402" y="1197429"/>
            <a:ext cx="9214960" cy="1730843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>
              <a:defRPr kumimoji="0" lang="ru-RU" sz="3200" b="0" i="0" u="none" strike="noStrike" kern="1200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defTabSz="914395" latinLnBrk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ru-RU" dirty="0"/>
              <a:t>Название презентации</a:t>
            </a:r>
          </a:p>
        </p:txBody>
      </p:sp>
      <p:cxnSp>
        <p:nvCxnSpPr>
          <p:cNvPr id="36" name="Прямая соединительная линия 35"/>
          <p:cNvCxnSpPr/>
          <p:nvPr/>
        </p:nvCxnSpPr>
        <p:spPr bwMode="auto">
          <a:xfrm>
            <a:off x="426334" y="3038075"/>
            <a:ext cx="0" cy="92929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Прямая соединительная линия 36"/>
          <p:cNvCxnSpPr/>
          <p:nvPr/>
        </p:nvCxnSpPr>
        <p:spPr bwMode="auto">
          <a:xfrm>
            <a:off x="5637561" y="3038075"/>
            <a:ext cx="0" cy="92929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8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515867" y="2967896"/>
            <a:ext cx="5031064" cy="1032429"/>
          </a:xfrm>
          <a:prstGeom prst="rect">
            <a:avLst/>
          </a:prstGeom>
        </p:spPr>
        <p:txBody>
          <a:bodyPr tIns="3600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</a:t>
            </a:r>
            <a:r>
              <a:rPr lang="ru-RU" dirty="0" smtClean="0"/>
              <a:t>Фамилия</a:t>
            </a:r>
            <a:br>
              <a:rPr lang="ru-RU" dirty="0" smtClean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Компания </a:t>
            </a:r>
            <a:r>
              <a:rPr lang="ru-RU" dirty="0"/>
              <a:t>/ функция / направление</a:t>
            </a:r>
          </a:p>
        </p:txBody>
      </p:sp>
      <p:sp>
        <p:nvSpPr>
          <p:cNvPr id="40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5728192" y="2967896"/>
            <a:ext cx="3814170" cy="1032429"/>
          </a:xfrm>
          <a:prstGeom prst="rect">
            <a:avLst/>
          </a:prstGeom>
        </p:spPr>
        <p:txBody>
          <a:bodyPr tIns="36000"/>
          <a:lstStyle>
            <a:lvl1pPr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</a:t>
            </a:r>
            <a:r>
              <a:rPr lang="ru-RU" dirty="0" smtClean="0"/>
              <a:t>мероприятия</a:t>
            </a:r>
            <a:br>
              <a:rPr lang="ru-RU" dirty="0" smtClean="0"/>
            </a:br>
            <a:r>
              <a:rPr lang="ru-RU" dirty="0" smtClean="0"/>
              <a:t>Дата </a:t>
            </a:r>
            <a:r>
              <a:rPr lang="ru-RU" dirty="0"/>
              <a:t>проведения</a:t>
            </a:r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334" y="460784"/>
            <a:ext cx="1085631" cy="20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70042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фото в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8397347"/>
              </p:ext>
            </p:ext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42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32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4637429"/>
            <a:ext cx="9906000" cy="2220571"/>
          </a:xfrm>
          <a:prstGeom prst="rect">
            <a:avLst/>
          </a:prstGeom>
          <a:ln w="19050">
            <a:noFill/>
          </a:ln>
        </p:spPr>
        <p:txBody>
          <a:bodyPr anchor="ctr"/>
          <a:lstStyle>
            <a:lvl1pPr algn="ctr">
              <a:defRPr sz="825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6" name="Прямоугольник 65"/>
          <p:cNvSpPr/>
          <p:nvPr/>
        </p:nvSpPr>
        <p:spPr>
          <a:xfrm>
            <a:off x="9938897" y="4"/>
            <a:ext cx="3013327" cy="6857999"/>
          </a:xfrm>
          <a:prstGeom prst="rect">
            <a:avLst/>
          </a:prstGeom>
          <a:solidFill>
            <a:srgbClr val="2D8797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10019846" y="91099"/>
            <a:ext cx="409056" cy="582612"/>
          </a:xfrm>
          <a:prstGeom prst="rect">
            <a:avLst/>
          </a:prstGeom>
          <a:solidFill>
            <a:srgbClr val="008C95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68" name="Прямоугольник 67"/>
          <p:cNvSpPr/>
          <p:nvPr/>
        </p:nvSpPr>
        <p:spPr>
          <a:xfrm>
            <a:off x="10019846" y="1256321"/>
            <a:ext cx="409056" cy="58420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69" name="Прямоугольник 68"/>
          <p:cNvSpPr/>
          <p:nvPr/>
        </p:nvSpPr>
        <p:spPr>
          <a:xfrm>
            <a:off x="10019846" y="673712"/>
            <a:ext cx="409056" cy="582613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10019846" y="4490076"/>
            <a:ext cx="409056" cy="582613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1" name="Прямоугольник 70"/>
          <p:cNvSpPr/>
          <p:nvPr/>
        </p:nvSpPr>
        <p:spPr>
          <a:xfrm>
            <a:off x="10019846" y="2164372"/>
            <a:ext cx="409056" cy="58420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72" name="Прямоугольник 71"/>
          <p:cNvSpPr/>
          <p:nvPr/>
        </p:nvSpPr>
        <p:spPr>
          <a:xfrm>
            <a:off x="10019846" y="2742223"/>
            <a:ext cx="409056" cy="582612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10019846" y="3324840"/>
            <a:ext cx="409056" cy="582613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10019846" y="39074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75" name="Прямоугольник 74"/>
          <p:cNvSpPr/>
          <p:nvPr/>
        </p:nvSpPr>
        <p:spPr>
          <a:xfrm>
            <a:off x="10019846" y="5072672"/>
            <a:ext cx="409056" cy="58420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76" name="Прямоугольник 75"/>
          <p:cNvSpPr/>
          <p:nvPr/>
        </p:nvSpPr>
        <p:spPr>
          <a:xfrm>
            <a:off x="10019846" y="5656872"/>
            <a:ext cx="409056" cy="58420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10019849" y="1256321"/>
            <a:ext cx="409056" cy="584200"/>
          </a:xfrm>
          <a:prstGeom prst="rect">
            <a:avLst/>
          </a:prstGeom>
          <a:solidFill>
            <a:srgbClr val="D0D0D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10019849" y="673712"/>
            <a:ext cx="409056" cy="582613"/>
          </a:xfrm>
          <a:prstGeom prst="rect">
            <a:avLst/>
          </a:prstGeom>
          <a:solidFill>
            <a:srgbClr val="99CC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79" name="Прямоугольник 78"/>
          <p:cNvSpPr/>
          <p:nvPr/>
        </p:nvSpPr>
        <p:spPr>
          <a:xfrm>
            <a:off x="10019849" y="4490080"/>
            <a:ext cx="409056" cy="582613"/>
          </a:xfrm>
          <a:prstGeom prst="rect">
            <a:avLst/>
          </a:prstGeom>
          <a:solidFill>
            <a:srgbClr val="E5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0" name="Прямоугольник 79"/>
          <p:cNvSpPr/>
          <p:nvPr/>
        </p:nvSpPr>
        <p:spPr>
          <a:xfrm>
            <a:off x="10019849" y="2164372"/>
            <a:ext cx="409056" cy="584200"/>
          </a:xfrm>
          <a:prstGeom prst="rect">
            <a:avLst/>
          </a:prstGeom>
          <a:solidFill>
            <a:srgbClr val="F2F2F2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81" name="Прямоугольник 80"/>
          <p:cNvSpPr/>
          <p:nvPr/>
        </p:nvSpPr>
        <p:spPr>
          <a:xfrm>
            <a:off x="10019849" y="2742223"/>
            <a:ext cx="409056" cy="582612"/>
          </a:xfrm>
          <a:prstGeom prst="rect">
            <a:avLst/>
          </a:prstGeom>
          <a:solidFill>
            <a:srgbClr val="B2D2D8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10019849" y="3324840"/>
            <a:ext cx="409056" cy="582613"/>
          </a:xfrm>
          <a:prstGeom prst="rect">
            <a:avLst/>
          </a:prstGeom>
          <a:solidFill>
            <a:srgbClr val="FFC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10019849" y="39074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84" name="Прямоугольник 83"/>
          <p:cNvSpPr/>
          <p:nvPr/>
        </p:nvSpPr>
        <p:spPr>
          <a:xfrm>
            <a:off x="10019849" y="5072672"/>
            <a:ext cx="409056" cy="584200"/>
          </a:xfrm>
          <a:prstGeom prst="rect">
            <a:avLst/>
          </a:prstGeom>
          <a:solidFill>
            <a:srgbClr val="808080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85" name="Прямоугольник 84"/>
          <p:cNvSpPr/>
          <p:nvPr/>
        </p:nvSpPr>
        <p:spPr>
          <a:xfrm>
            <a:off x="10019849" y="5656872"/>
            <a:ext cx="409056" cy="584200"/>
          </a:xfrm>
          <a:prstGeom prst="rect">
            <a:avLst/>
          </a:prstGeom>
          <a:solidFill>
            <a:srgbClr val="F58A1F"/>
          </a:solidFill>
          <a:ln w="3175">
            <a:solidFill>
              <a:schemeClr val="accent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cxnSp>
        <p:nvCxnSpPr>
          <p:cNvPr id="86" name="Прямая соединительная линия 85"/>
          <p:cNvCxnSpPr/>
          <p:nvPr/>
        </p:nvCxnSpPr>
        <p:spPr bwMode="auto">
          <a:xfrm>
            <a:off x="10558274" y="592667"/>
            <a:ext cx="222197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5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7402" y="1197429"/>
            <a:ext cx="9214960" cy="1730843"/>
          </a:xfr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>
              <a:defRPr kumimoji="0" lang="ru-RU" sz="3200" b="0" i="0" u="none" strike="noStrike" kern="1200" cap="none" normalizeH="0" baseline="0" dirty="0">
                <a:ln>
                  <a:noFill/>
                </a:ln>
                <a:solidFill>
                  <a:schemeClr val="accent1"/>
                </a:solidFill>
                <a:effectLst/>
                <a:latin typeface="Arial" charset="0"/>
                <a:ea typeface="+mn-ea"/>
                <a:cs typeface="+mn-cs"/>
              </a:defRPr>
            </a:lvl1pPr>
          </a:lstStyle>
          <a:p>
            <a:pPr marL="0" marR="0" lvl="0" indent="0" defTabSz="914395" latinLnBrk="0">
              <a:lnSpc>
                <a:spcPct val="100000"/>
              </a:lnSpc>
              <a:buClrTx/>
              <a:buSzTx/>
              <a:buFontTx/>
              <a:buNone/>
              <a:tabLst/>
            </a:pPr>
            <a:r>
              <a:rPr lang="ru-RU" dirty="0"/>
              <a:t>Название презентации</a:t>
            </a:r>
          </a:p>
        </p:txBody>
      </p:sp>
      <p:cxnSp>
        <p:nvCxnSpPr>
          <p:cNvPr id="36" name="Прямая соединительная линия 35"/>
          <p:cNvCxnSpPr/>
          <p:nvPr/>
        </p:nvCxnSpPr>
        <p:spPr bwMode="auto">
          <a:xfrm>
            <a:off x="426334" y="3038075"/>
            <a:ext cx="0" cy="92929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7" name="Прямая соединительная линия 36"/>
          <p:cNvCxnSpPr/>
          <p:nvPr/>
        </p:nvCxnSpPr>
        <p:spPr bwMode="auto">
          <a:xfrm>
            <a:off x="5637561" y="3038075"/>
            <a:ext cx="0" cy="929292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8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515867" y="2967896"/>
            <a:ext cx="5031064" cy="1032429"/>
          </a:xfrm>
          <a:prstGeom prst="rect">
            <a:avLst/>
          </a:prstGeom>
        </p:spPr>
        <p:txBody>
          <a:bodyPr tIns="3600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</a:t>
            </a:r>
            <a:r>
              <a:rPr lang="ru-RU" dirty="0" smtClean="0"/>
              <a:t>Фамилия</a:t>
            </a:r>
            <a:br>
              <a:rPr lang="ru-RU" dirty="0" smtClean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Компания </a:t>
            </a:r>
            <a:r>
              <a:rPr lang="ru-RU" dirty="0"/>
              <a:t>/ функция / направление</a:t>
            </a:r>
          </a:p>
        </p:txBody>
      </p:sp>
      <p:sp>
        <p:nvSpPr>
          <p:cNvPr id="40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5728192" y="2967896"/>
            <a:ext cx="3814170" cy="1032429"/>
          </a:xfrm>
          <a:prstGeom prst="rect">
            <a:avLst/>
          </a:prstGeom>
        </p:spPr>
        <p:txBody>
          <a:bodyPr tIns="36000"/>
          <a:lstStyle>
            <a:lvl1pPr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</a:t>
            </a:r>
            <a:r>
              <a:rPr lang="ru-RU" dirty="0" smtClean="0"/>
              <a:t>мероприятия</a:t>
            </a:r>
            <a:br>
              <a:rPr lang="ru-RU" dirty="0" smtClean="0"/>
            </a:br>
            <a:r>
              <a:rPr lang="ru-RU" dirty="0" smtClean="0"/>
              <a:t>Дата </a:t>
            </a:r>
            <a:r>
              <a:rPr lang="ru-RU" dirty="0"/>
              <a:t>проведения</a:t>
            </a:r>
          </a:p>
        </p:txBody>
      </p:sp>
      <p:pic>
        <p:nvPicPr>
          <p:cNvPr id="33" name="Picture 32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6334" y="460784"/>
            <a:ext cx="1085631" cy="20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25838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фотоколла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Рисунок 4"/>
          <p:cNvSpPr>
            <a:spLocks noGrp="1"/>
          </p:cNvSpPr>
          <p:nvPr>
            <p:ph type="pic" sz="quarter" idx="21" hasCustomPrompt="1"/>
          </p:nvPr>
        </p:nvSpPr>
        <p:spPr>
          <a:xfrm>
            <a:off x="5788404" y="19"/>
            <a:ext cx="4117596" cy="2978074"/>
          </a:xfrm>
          <a:prstGeom prst="flowChartMerge">
            <a:avLst/>
          </a:prstGeom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8113212"/>
              </p:ext>
            </p:ext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84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71979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9938897" y="4"/>
            <a:ext cx="3013327" cy="6857999"/>
          </a:xfrm>
          <a:prstGeom prst="rect">
            <a:avLst/>
          </a:prstGeom>
          <a:solidFill>
            <a:srgbClr val="2D8797"/>
          </a:solidFill>
          <a:ln>
            <a:noFill/>
          </a:ln>
        </p:spPr>
        <p:txBody>
          <a:bodyPr wrap="square" lIns="576000">
            <a:noAutofit/>
          </a:bodyPr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dirty="0">
                <a:solidFill>
                  <a:schemeClr val="bg1"/>
                </a:solidFill>
              </a:rPr>
              <a:t>Рекомендации </a:t>
            </a:r>
            <a:br>
              <a:rPr lang="ru-RU" sz="1200" b="1" dirty="0">
                <a:solidFill>
                  <a:schemeClr val="bg1"/>
                </a:solidFill>
              </a:rPr>
            </a:br>
            <a:r>
              <a:rPr lang="ru-RU" sz="12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по оформлению слайдов</a:t>
            </a:r>
          </a:p>
          <a:p>
            <a:pPr marL="0" algn="l" defTabSz="779158" rtl="0" eaLnBrk="1" latinLnBrk="0" hangingPunct="1"/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indent="-182561" algn="l" defTabSz="779158" rtl="0" eaLnBrk="1" latinLnBrk="0" hangingPunct="1"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ТЕКСТ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dirty="0" err="1">
                <a:solidFill>
                  <a:schemeClr val="bg1"/>
                </a:solidFill>
              </a:rPr>
              <a:t>Корп.шрифт</a:t>
            </a:r>
            <a:r>
              <a:rPr lang="ru-RU" sz="800" b="0" dirty="0">
                <a:solidFill>
                  <a:schemeClr val="bg1"/>
                </a:solidFill>
              </a:rPr>
              <a:t> для презентаций</a:t>
            </a:r>
            <a:r>
              <a:rPr lang="ru-RU" sz="800" b="0" baseline="0" dirty="0">
                <a:solidFill>
                  <a:schemeClr val="bg1"/>
                </a:solidFill>
              </a:rPr>
              <a:t> </a:t>
            </a:r>
            <a:r>
              <a:rPr lang="ru-RU" sz="800" baseline="0" dirty="0">
                <a:solidFill>
                  <a:schemeClr val="bg1"/>
                </a:solidFill>
              </a:rPr>
              <a:t>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en-US" sz="800" b="1" dirty="0">
                <a:solidFill>
                  <a:schemeClr val="bg1"/>
                </a:solidFill>
              </a:rPr>
              <a:t>Arial</a:t>
            </a:r>
            <a:r>
              <a:rPr lang="ru-RU" sz="800" dirty="0">
                <a:solidFill>
                  <a:schemeClr val="bg1"/>
                </a:solidFill>
              </a:rPr>
              <a:t> (</a:t>
            </a:r>
            <a:r>
              <a:rPr lang="ru-RU" sz="800" i="1" dirty="0">
                <a:solidFill>
                  <a:schemeClr val="bg1"/>
                </a:solidFill>
              </a:rPr>
              <a:t>д</a:t>
            </a:r>
            <a:r>
              <a:rPr lang="ru-RU" sz="800" i="1" baseline="0" dirty="0">
                <a:solidFill>
                  <a:schemeClr val="bg1"/>
                </a:solidFill>
              </a:rPr>
              <a:t>опустимо: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r>
              <a:rPr lang="en-US" sz="800" baseline="0" dirty="0">
                <a:solidFill>
                  <a:schemeClr val="bg1"/>
                </a:solidFill>
              </a:rPr>
              <a:t>Arial Narrow</a:t>
            </a:r>
            <a:r>
              <a:rPr lang="ru-RU" sz="800" baseline="0" dirty="0">
                <a:solidFill>
                  <a:schemeClr val="bg1"/>
                </a:solidFill>
              </a:rPr>
              <a:t>)</a:t>
            </a: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Заголовок слайда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16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Текст на слайде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1</a:t>
            </a:r>
            <a:r>
              <a:rPr lang="ru-RU" sz="800" b="1" baseline="0" dirty="0">
                <a:solidFill>
                  <a:schemeClr val="bg1"/>
                </a:solidFill>
              </a:rPr>
              <a:t>2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Примечания – </a:t>
            </a:r>
            <a:r>
              <a:rPr lang="ru-RU" sz="800" b="1" baseline="0" dirty="0">
                <a:solidFill>
                  <a:schemeClr val="bg1"/>
                </a:solidFill>
              </a:rPr>
              <a:t>не ниже </a:t>
            </a:r>
            <a:r>
              <a:rPr lang="en-US" sz="800" b="1" baseline="0" dirty="0">
                <a:solidFill>
                  <a:schemeClr val="bg1"/>
                </a:solidFill>
              </a:rPr>
              <a:t>8</a:t>
            </a:r>
            <a:r>
              <a:rPr lang="ru-RU" sz="800" b="1" baseline="0" dirty="0">
                <a:solidFill>
                  <a:schemeClr val="bg1"/>
                </a:solidFill>
              </a:rPr>
              <a:t> </a:t>
            </a:r>
            <a:r>
              <a:rPr lang="ru-RU" sz="800" b="1" baseline="0" dirty="0" err="1">
                <a:solidFill>
                  <a:schemeClr val="bg1"/>
                </a:solidFill>
              </a:rPr>
              <a:t>пт</a:t>
            </a:r>
            <a:endParaRPr lang="ru-RU" sz="800" b="1" baseline="0" dirty="0">
              <a:solidFill>
                <a:schemeClr val="bg1"/>
              </a:solidFill>
            </a:endParaRPr>
          </a:p>
          <a:p>
            <a:pPr marL="266698" lvl="4" indent="-88899" algn="l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aseline="0" dirty="0">
                <a:solidFill>
                  <a:schemeClr val="bg1"/>
                </a:solidFill>
              </a:rPr>
              <a:t>Используйте на слайде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="1" baseline="0" dirty="0">
                <a:solidFill>
                  <a:schemeClr val="bg1"/>
                </a:solidFill>
              </a:rPr>
              <a:t>не более 3 размеров шрифтов</a:t>
            </a:r>
            <a:endParaRPr lang="en-US" sz="800" b="1" baseline="0" dirty="0">
              <a:solidFill>
                <a:schemeClr val="bg1"/>
              </a:solidFill>
            </a:endParaRPr>
          </a:p>
          <a:p>
            <a:pPr marL="182561" indent="-182561" algn="l" defTabSz="779158" rtl="0" eaLnBrk="1" latinLnBrk="0" hangingPunct="1">
              <a:spcBef>
                <a:spcPts val="3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Ы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единый стиль оформления диаграмм</a:t>
            </a:r>
          </a:p>
          <a:p>
            <a:pPr marL="266698" lvl="1" indent="-79375" algn="l" defTabSz="779158" rtl="0" eaLnBrk="1" latinLnBrk="0" hangingPunct="1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шрифты одинакового размера в</a:t>
            </a:r>
            <a:r>
              <a:rPr lang="ru-RU" sz="800" b="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</a:t>
            </a: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иаграммах, располагающихся на одном слайде</a:t>
            </a:r>
          </a:p>
          <a:p>
            <a:pPr marL="266698" lvl="1" indent="-79375" algn="l" defTabSz="779158" rtl="0" eaLnBrk="1" latinLnBrk="0" hangingPunct="1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На одном слайде – не более 4 диаграмм</a:t>
            </a: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КОНКИ</a:t>
            </a:r>
          </a:p>
          <a:p>
            <a:pPr marL="266698" marR="0" lvl="1" indent="-84138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dirty="0">
                <a:solidFill>
                  <a:schemeClr val="bg1"/>
                </a:solidFill>
              </a:rPr>
              <a:t>Выбирайте оформление</a:t>
            </a:r>
            <a:r>
              <a:rPr lang="ru-RU" sz="800" baseline="0" dirty="0">
                <a:solidFill>
                  <a:schemeClr val="bg1"/>
                </a:solidFill>
              </a:rPr>
              <a:t>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иконок </a:t>
            </a:r>
            <a:r>
              <a:rPr lang="ru-RU" sz="800" dirty="0">
                <a:solidFill>
                  <a:schemeClr val="bg1"/>
                </a:solidFill>
              </a:rPr>
              <a:t>в</a:t>
            </a:r>
            <a:r>
              <a:rPr lang="ru-RU" sz="800" baseline="0" dirty="0">
                <a:solidFill>
                  <a:schemeClr val="bg1"/>
                </a:solidFill>
              </a:rPr>
              <a:t> едином стиле</a:t>
            </a: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ru-RU" sz="800" b="1" dirty="0">
                <a:solidFill>
                  <a:schemeClr val="bg1"/>
                </a:solidFill>
              </a:rPr>
              <a:t>ИЗОБРАЖЕНИЯ</a:t>
            </a:r>
          </a:p>
          <a:p>
            <a:pPr marL="266698" lvl="1" indent="-84138"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Нельзя</a:t>
            </a:r>
            <a:r>
              <a:rPr lang="ru-RU" sz="800" baseline="0" dirty="0">
                <a:solidFill>
                  <a:schemeClr val="bg1"/>
                </a:solidFill>
              </a:rPr>
              <a:t> искажать пропорции</a:t>
            </a:r>
          </a:p>
          <a:p>
            <a:pPr marL="266698" lvl="1" indent="-84138"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ru-RU" sz="800" dirty="0">
                <a:solidFill>
                  <a:schemeClr val="bg1"/>
                </a:solidFill>
              </a:rPr>
              <a:t>Рекомендуемое разрешение</a:t>
            </a:r>
            <a:r>
              <a:rPr lang="ru-RU" sz="800" baseline="0" dirty="0">
                <a:solidFill>
                  <a:schemeClr val="bg1"/>
                </a:solidFill>
              </a:rPr>
              <a:t> – </a:t>
            </a:r>
            <a:br>
              <a:rPr lang="ru-RU" sz="800" baseline="0" dirty="0">
                <a:solidFill>
                  <a:schemeClr val="bg1"/>
                </a:solidFill>
              </a:rPr>
            </a:br>
            <a:r>
              <a:rPr lang="ru-RU" sz="800" baseline="0" dirty="0">
                <a:solidFill>
                  <a:schemeClr val="bg1"/>
                </a:solidFill>
              </a:rPr>
              <a:t>не более 150 пикселей на дюйм</a:t>
            </a:r>
            <a:endParaRPr lang="ru-RU" sz="800" b="1" dirty="0">
              <a:solidFill>
                <a:schemeClr val="bg1"/>
              </a:solidFill>
            </a:endParaRPr>
          </a:p>
          <a:p>
            <a:pPr marL="182561" marR="0" lvl="0" indent="-182561" algn="l" defTabSz="779158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2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БЩИЕ РЕКОМЕНДАЦИИ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кажите «нет» презентациям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с большим количеством текста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спользуйте простые схемы </a:t>
            </a:r>
            <a:b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</a:b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и графику</a:t>
            </a:r>
          </a:p>
          <a:p>
            <a:pPr marL="266698" marR="0" lvl="1" indent="-92075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ru-RU" sz="800" b="0" kern="12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Делайте слайды лаконичными</a:t>
            </a:r>
          </a:p>
          <a:p>
            <a:pPr marL="572142" marR="0" lvl="1" indent="-182561" algn="l" defTabSz="7791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endParaRPr lang="ru-RU" sz="800" b="1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66" name="Прямая соединительная линия 65"/>
          <p:cNvCxnSpPr/>
          <p:nvPr/>
        </p:nvCxnSpPr>
        <p:spPr bwMode="auto">
          <a:xfrm>
            <a:off x="10558274" y="592667"/>
            <a:ext cx="2221971" cy="0"/>
          </a:xfrm>
          <a:prstGeom prst="line">
            <a:avLst/>
          </a:prstGeom>
          <a:solidFill>
            <a:schemeClr val="accent1"/>
          </a:solidFill>
          <a:ln w="3175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8" name="Полилиния 37"/>
          <p:cNvSpPr/>
          <p:nvPr/>
        </p:nvSpPr>
        <p:spPr bwMode="auto">
          <a:xfrm>
            <a:off x="5248094" y="-2572"/>
            <a:ext cx="4664169" cy="6870904"/>
          </a:xfrm>
          <a:custGeom>
            <a:avLst/>
            <a:gdLst>
              <a:gd name="connsiteX0" fmla="*/ 0 w 4360542"/>
              <a:gd name="connsiteY0" fmla="*/ 0 h 5143500"/>
              <a:gd name="connsiteX1" fmla="*/ 367383 w 4360542"/>
              <a:gd name="connsiteY1" fmla="*/ 0 h 5143500"/>
              <a:gd name="connsiteX2" fmla="*/ 2298483 w 4360542"/>
              <a:gd name="connsiteY2" fmla="*/ 2540650 h 5143500"/>
              <a:gd name="connsiteX3" fmla="*/ 4305387 w 4360542"/>
              <a:gd name="connsiteY3" fmla="*/ 148915 h 5143500"/>
              <a:gd name="connsiteX4" fmla="*/ 4360542 w 4360542"/>
              <a:gd name="connsiteY4" fmla="*/ 195195 h 5143500"/>
              <a:gd name="connsiteX5" fmla="*/ 1896442 w 4360542"/>
              <a:gd name="connsiteY5" fmla="*/ 3131796 h 5143500"/>
              <a:gd name="connsiteX6" fmla="*/ 367383 w 4360542"/>
              <a:gd name="connsiteY6" fmla="*/ 5143500 h 5143500"/>
              <a:gd name="connsiteX7" fmla="*/ 0 w 4360542"/>
              <a:gd name="connsiteY7" fmla="*/ 5143500 h 5143500"/>
              <a:gd name="connsiteX0" fmla="*/ 0 w 4360542"/>
              <a:gd name="connsiteY0" fmla="*/ 0 h 5143500"/>
              <a:gd name="connsiteX1" fmla="*/ 367383 w 4360542"/>
              <a:gd name="connsiteY1" fmla="*/ 0 h 5143500"/>
              <a:gd name="connsiteX2" fmla="*/ 2298483 w 4360542"/>
              <a:gd name="connsiteY2" fmla="*/ 2540650 h 5143500"/>
              <a:gd name="connsiteX3" fmla="*/ 4305387 w 4360542"/>
              <a:gd name="connsiteY3" fmla="*/ 148915 h 5143500"/>
              <a:gd name="connsiteX4" fmla="*/ 4360542 w 4360542"/>
              <a:gd name="connsiteY4" fmla="*/ 195195 h 5143500"/>
              <a:gd name="connsiteX5" fmla="*/ 1896442 w 4360542"/>
              <a:gd name="connsiteY5" fmla="*/ 3131796 h 5143500"/>
              <a:gd name="connsiteX6" fmla="*/ 150407 w 4360542"/>
              <a:gd name="connsiteY6" fmla="*/ 5143500 h 5143500"/>
              <a:gd name="connsiteX7" fmla="*/ 0 w 4360542"/>
              <a:gd name="connsiteY7" fmla="*/ 5143500 h 5143500"/>
              <a:gd name="connsiteX8" fmla="*/ 0 w 4360542"/>
              <a:gd name="connsiteY8" fmla="*/ 0 h 5143500"/>
              <a:gd name="connsiteX0" fmla="*/ 0 w 4360542"/>
              <a:gd name="connsiteY0" fmla="*/ 0 h 5151249"/>
              <a:gd name="connsiteX1" fmla="*/ 367383 w 4360542"/>
              <a:gd name="connsiteY1" fmla="*/ 0 h 5151249"/>
              <a:gd name="connsiteX2" fmla="*/ 2298483 w 4360542"/>
              <a:gd name="connsiteY2" fmla="*/ 2540650 h 5151249"/>
              <a:gd name="connsiteX3" fmla="*/ 4305387 w 4360542"/>
              <a:gd name="connsiteY3" fmla="*/ 148915 h 5151249"/>
              <a:gd name="connsiteX4" fmla="*/ 4360542 w 4360542"/>
              <a:gd name="connsiteY4" fmla="*/ 195195 h 5151249"/>
              <a:gd name="connsiteX5" fmla="*/ 1896442 w 4360542"/>
              <a:gd name="connsiteY5" fmla="*/ 3131796 h 5151249"/>
              <a:gd name="connsiteX6" fmla="*/ 150407 w 4360542"/>
              <a:gd name="connsiteY6" fmla="*/ 5151249 h 5151249"/>
              <a:gd name="connsiteX7" fmla="*/ 0 w 4360542"/>
              <a:gd name="connsiteY7" fmla="*/ 5143500 h 5151249"/>
              <a:gd name="connsiteX8" fmla="*/ 0 w 4360542"/>
              <a:gd name="connsiteY8" fmla="*/ 0 h 5151249"/>
              <a:gd name="connsiteX0" fmla="*/ 0 w 4360542"/>
              <a:gd name="connsiteY0" fmla="*/ 0 h 5151249"/>
              <a:gd name="connsiteX1" fmla="*/ 367383 w 4360542"/>
              <a:gd name="connsiteY1" fmla="*/ 0 h 5151249"/>
              <a:gd name="connsiteX2" fmla="*/ 2298483 w 4360542"/>
              <a:gd name="connsiteY2" fmla="*/ 2540650 h 5151249"/>
              <a:gd name="connsiteX3" fmla="*/ 4305387 w 4360542"/>
              <a:gd name="connsiteY3" fmla="*/ 148915 h 5151249"/>
              <a:gd name="connsiteX4" fmla="*/ 4360542 w 4360542"/>
              <a:gd name="connsiteY4" fmla="*/ 195195 h 5151249"/>
              <a:gd name="connsiteX5" fmla="*/ 150407 w 4360542"/>
              <a:gd name="connsiteY5" fmla="*/ 5151249 h 5151249"/>
              <a:gd name="connsiteX6" fmla="*/ 0 w 4360542"/>
              <a:gd name="connsiteY6" fmla="*/ 5143500 h 5151249"/>
              <a:gd name="connsiteX7" fmla="*/ 0 w 4360542"/>
              <a:gd name="connsiteY7" fmla="*/ 0 h 5151249"/>
              <a:gd name="connsiteX0" fmla="*/ 0 w 4360542"/>
              <a:gd name="connsiteY0" fmla="*/ 0 h 5151249"/>
              <a:gd name="connsiteX1" fmla="*/ 367383 w 4360542"/>
              <a:gd name="connsiteY1" fmla="*/ 0 h 5151249"/>
              <a:gd name="connsiteX2" fmla="*/ 2290766 w 4360542"/>
              <a:gd name="connsiteY2" fmla="*/ 2527146 h 5151249"/>
              <a:gd name="connsiteX3" fmla="*/ 4305387 w 4360542"/>
              <a:gd name="connsiteY3" fmla="*/ 148915 h 5151249"/>
              <a:gd name="connsiteX4" fmla="*/ 4360542 w 4360542"/>
              <a:gd name="connsiteY4" fmla="*/ 195195 h 5151249"/>
              <a:gd name="connsiteX5" fmla="*/ 150407 w 4360542"/>
              <a:gd name="connsiteY5" fmla="*/ 5151249 h 5151249"/>
              <a:gd name="connsiteX6" fmla="*/ 0 w 4360542"/>
              <a:gd name="connsiteY6" fmla="*/ 5143500 h 5151249"/>
              <a:gd name="connsiteX7" fmla="*/ 0 w 4360542"/>
              <a:gd name="connsiteY7" fmla="*/ 0 h 5151249"/>
              <a:gd name="connsiteX0" fmla="*/ 0 w 4360542"/>
              <a:gd name="connsiteY0" fmla="*/ 0 h 5151249"/>
              <a:gd name="connsiteX1" fmla="*/ 367383 w 4360542"/>
              <a:gd name="connsiteY1" fmla="*/ 0 h 5151249"/>
              <a:gd name="connsiteX2" fmla="*/ 2333206 w 4360542"/>
              <a:gd name="connsiteY2" fmla="*/ 2480848 h 5151249"/>
              <a:gd name="connsiteX3" fmla="*/ 4305387 w 4360542"/>
              <a:gd name="connsiteY3" fmla="*/ 148915 h 5151249"/>
              <a:gd name="connsiteX4" fmla="*/ 4360542 w 4360542"/>
              <a:gd name="connsiteY4" fmla="*/ 195195 h 5151249"/>
              <a:gd name="connsiteX5" fmla="*/ 150407 w 4360542"/>
              <a:gd name="connsiteY5" fmla="*/ 5151249 h 5151249"/>
              <a:gd name="connsiteX6" fmla="*/ 0 w 4360542"/>
              <a:gd name="connsiteY6" fmla="*/ 5143500 h 5151249"/>
              <a:gd name="connsiteX7" fmla="*/ 0 w 4360542"/>
              <a:gd name="connsiteY7" fmla="*/ 0 h 5151249"/>
              <a:gd name="connsiteX0" fmla="*/ 0 w 4360542"/>
              <a:gd name="connsiteY0" fmla="*/ 0 h 5151249"/>
              <a:gd name="connsiteX1" fmla="*/ 423327 w 4360542"/>
              <a:gd name="connsiteY1" fmla="*/ 1929 h 5151249"/>
              <a:gd name="connsiteX2" fmla="*/ 2333206 w 4360542"/>
              <a:gd name="connsiteY2" fmla="*/ 2480848 h 5151249"/>
              <a:gd name="connsiteX3" fmla="*/ 4305387 w 4360542"/>
              <a:gd name="connsiteY3" fmla="*/ 148915 h 5151249"/>
              <a:gd name="connsiteX4" fmla="*/ 4360542 w 4360542"/>
              <a:gd name="connsiteY4" fmla="*/ 195195 h 5151249"/>
              <a:gd name="connsiteX5" fmla="*/ 150407 w 4360542"/>
              <a:gd name="connsiteY5" fmla="*/ 5151249 h 5151249"/>
              <a:gd name="connsiteX6" fmla="*/ 0 w 4360542"/>
              <a:gd name="connsiteY6" fmla="*/ 5143500 h 5151249"/>
              <a:gd name="connsiteX7" fmla="*/ 0 w 4360542"/>
              <a:gd name="connsiteY7" fmla="*/ 0 h 5151249"/>
              <a:gd name="connsiteX0" fmla="*/ 0 w 4360542"/>
              <a:gd name="connsiteY0" fmla="*/ 1929 h 5153178"/>
              <a:gd name="connsiteX1" fmla="*/ 427185 w 4360542"/>
              <a:gd name="connsiteY1" fmla="*/ 0 h 5153178"/>
              <a:gd name="connsiteX2" fmla="*/ 2333206 w 4360542"/>
              <a:gd name="connsiteY2" fmla="*/ 2482777 h 5153178"/>
              <a:gd name="connsiteX3" fmla="*/ 4305387 w 4360542"/>
              <a:gd name="connsiteY3" fmla="*/ 150844 h 5153178"/>
              <a:gd name="connsiteX4" fmla="*/ 4360542 w 4360542"/>
              <a:gd name="connsiteY4" fmla="*/ 197124 h 5153178"/>
              <a:gd name="connsiteX5" fmla="*/ 150407 w 4360542"/>
              <a:gd name="connsiteY5" fmla="*/ 5153178 h 5153178"/>
              <a:gd name="connsiteX6" fmla="*/ 0 w 4360542"/>
              <a:gd name="connsiteY6" fmla="*/ 5145429 h 5153178"/>
              <a:gd name="connsiteX7" fmla="*/ 0 w 4360542"/>
              <a:gd name="connsiteY7" fmla="*/ 1929 h 5153178"/>
              <a:gd name="connsiteX0" fmla="*/ 0 w 4305387"/>
              <a:gd name="connsiteY0" fmla="*/ 1929 h 5153178"/>
              <a:gd name="connsiteX1" fmla="*/ 427185 w 4305387"/>
              <a:gd name="connsiteY1" fmla="*/ 0 h 5153178"/>
              <a:gd name="connsiteX2" fmla="*/ 2333206 w 4305387"/>
              <a:gd name="connsiteY2" fmla="*/ 2482777 h 5153178"/>
              <a:gd name="connsiteX3" fmla="*/ 4305387 w 4305387"/>
              <a:gd name="connsiteY3" fmla="*/ 150844 h 5153178"/>
              <a:gd name="connsiteX4" fmla="*/ 4302669 w 4305387"/>
              <a:gd name="connsiteY4" fmla="*/ 272359 h 5153178"/>
              <a:gd name="connsiteX5" fmla="*/ 150407 w 4305387"/>
              <a:gd name="connsiteY5" fmla="*/ 5153178 h 5153178"/>
              <a:gd name="connsiteX6" fmla="*/ 0 w 4305387"/>
              <a:gd name="connsiteY6" fmla="*/ 5145429 h 5153178"/>
              <a:gd name="connsiteX7" fmla="*/ 0 w 4305387"/>
              <a:gd name="connsiteY7" fmla="*/ 1929 h 51531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305387" h="5153178">
                <a:moveTo>
                  <a:pt x="0" y="1929"/>
                </a:moveTo>
                <a:lnTo>
                  <a:pt x="427185" y="0"/>
                </a:lnTo>
                <a:lnTo>
                  <a:pt x="2333206" y="2482777"/>
                </a:lnTo>
                <a:lnTo>
                  <a:pt x="4305387" y="150844"/>
                </a:lnTo>
                <a:lnTo>
                  <a:pt x="4302669" y="272359"/>
                </a:lnTo>
                <a:lnTo>
                  <a:pt x="150407" y="5153178"/>
                </a:lnTo>
                <a:lnTo>
                  <a:pt x="0" y="5145429"/>
                </a:lnTo>
                <a:lnTo>
                  <a:pt x="0" y="1929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Рисунок 13"/>
          <p:cNvSpPr>
            <a:spLocks noGrp="1"/>
          </p:cNvSpPr>
          <p:nvPr>
            <p:ph type="pic" sz="quarter" idx="15" hasCustomPrompt="1"/>
          </p:nvPr>
        </p:nvSpPr>
        <p:spPr bwMode="auto">
          <a:xfrm>
            <a:off x="5420074" y="280800"/>
            <a:ext cx="4492823" cy="6577199"/>
          </a:xfrm>
          <a:custGeom>
            <a:avLst/>
            <a:gdLst>
              <a:gd name="connsiteX0" fmla="*/ 0 w 4126526"/>
              <a:gd name="connsiteY0" fmla="*/ 0 h 4838700"/>
              <a:gd name="connsiteX1" fmla="*/ 4126526 w 4126526"/>
              <a:gd name="connsiteY1" fmla="*/ 0 h 4838700"/>
              <a:gd name="connsiteX2" fmla="*/ 4126526 w 4126526"/>
              <a:gd name="connsiteY2" fmla="*/ 4838700 h 4838700"/>
              <a:gd name="connsiteX3" fmla="*/ 0 w 4126526"/>
              <a:gd name="connsiteY3" fmla="*/ 4838700 h 4838700"/>
              <a:gd name="connsiteX4" fmla="*/ 0 w 4126526"/>
              <a:gd name="connsiteY4" fmla="*/ 0 h 4838700"/>
              <a:gd name="connsiteX0" fmla="*/ 4108938 w 4126526"/>
              <a:gd name="connsiteY0" fmla="*/ 5862 h 4838700"/>
              <a:gd name="connsiteX1" fmla="*/ 4126526 w 4126526"/>
              <a:gd name="connsiteY1" fmla="*/ 0 h 4838700"/>
              <a:gd name="connsiteX2" fmla="*/ 4126526 w 4126526"/>
              <a:gd name="connsiteY2" fmla="*/ 4838700 h 4838700"/>
              <a:gd name="connsiteX3" fmla="*/ 0 w 4126526"/>
              <a:gd name="connsiteY3" fmla="*/ 4838700 h 4838700"/>
              <a:gd name="connsiteX4" fmla="*/ 4108938 w 4126526"/>
              <a:gd name="connsiteY4" fmla="*/ 5862 h 4838700"/>
              <a:gd name="connsiteX0" fmla="*/ 4108938 w 4136800"/>
              <a:gd name="connsiteY0" fmla="*/ 40794 h 4873632"/>
              <a:gd name="connsiteX1" fmla="*/ 4136800 w 4136800"/>
              <a:gd name="connsiteY1" fmla="*/ 0 h 4873632"/>
              <a:gd name="connsiteX2" fmla="*/ 4126526 w 4136800"/>
              <a:gd name="connsiteY2" fmla="*/ 4873632 h 4873632"/>
              <a:gd name="connsiteX3" fmla="*/ 0 w 4136800"/>
              <a:gd name="connsiteY3" fmla="*/ 4873632 h 4873632"/>
              <a:gd name="connsiteX4" fmla="*/ 4108938 w 4136800"/>
              <a:gd name="connsiteY4" fmla="*/ 40794 h 4873632"/>
              <a:gd name="connsiteX0" fmla="*/ 4108938 w 4137788"/>
              <a:gd name="connsiteY0" fmla="*/ 40794 h 4873632"/>
              <a:gd name="connsiteX1" fmla="*/ 4136800 w 4137788"/>
              <a:gd name="connsiteY1" fmla="*/ 0 h 4873632"/>
              <a:gd name="connsiteX2" fmla="*/ 4136800 w 4137788"/>
              <a:gd name="connsiteY2" fmla="*/ 4873632 h 4873632"/>
              <a:gd name="connsiteX3" fmla="*/ 0 w 4137788"/>
              <a:gd name="connsiteY3" fmla="*/ 4873632 h 4873632"/>
              <a:gd name="connsiteX4" fmla="*/ 4108938 w 4137788"/>
              <a:gd name="connsiteY4" fmla="*/ 40794 h 4873632"/>
              <a:gd name="connsiteX0" fmla="*/ 0 w 4137788"/>
              <a:gd name="connsiteY0" fmla="*/ 4873632 h 4873632"/>
              <a:gd name="connsiteX1" fmla="*/ 4136800 w 4137788"/>
              <a:gd name="connsiteY1" fmla="*/ 0 h 4873632"/>
              <a:gd name="connsiteX2" fmla="*/ 4136800 w 4137788"/>
              <a:gd name="connsiteY2" fmla="*/ 4873632 h 4873632"/>
              <a:gd name="connsiteX3" fmla="*/ 0 w 4137788"/>
              <a:gd name="connsiteY3" fmla="*/ 4873632 h 4873632"/>
              <a:gd name="connsiteX0" fmla="*/ 0 w 4147221"/>
              <a:gd name="connsiteY0" fmla="*/ 4932899 h 4932899"/>
              <a:gd name="connsiteX1" fmla="*/ 4147221 w 4147221"/>
              <a:gd name="connsiteY1" fmla="*/ 0 h 4932899"/>
              <a:gd name="connsiteX2" fmla="*/ 4136800 w 4147221"/>
              <a:gd name="connsiteY2" fmla="*/ 4932899 h 4932899"/>
              <a:gd name="connsiteX3" fmla="*/ 0 w 4147221"/>
              <a:gd name="connsiteY3" fmla="*/ 4932899 h 4932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147221" h="4932899">
                <a:moveTo>
                  <a:pt x="0" y="4932899"/>
                </a:moveTo>
                <a:lnTo>
                  <a:pt x="4147221" y="0"/>
                </a:lnTo>
                <a:cubicBezTo>
                  <a:pt x="4143796" y="1624544"/>
                  <a:pt x="4140225" y="3308355"/>
                  <a:pt x="4136800" y="4932899"/>
                </a:cubicBezTo>
                <a:lnTo>
                  <a:pt x="0" y="4932899"/>
                </a:lnTo>
                <a:close/>
              </a:path>
            </a:pathLst>
          </a:custGeom>
          <a:noFill/>
          <a:ln w="19050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anchor="b"/>
          <a:lstStyle>
            <a:lvl1pPr algn="ctr">
              <a:defRPr sz="825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611525" y="3848183"/>
            <a:ext cx="5357820" cy="1032429"/>
          </a:xfrm>
          <a:prstGeom prst="rect">
            <a:avLst/>
          </a:prstGeom>
        </p:spPr>
        <p:txBody>
          <a:bodyPr tIns="0" rIns="0" bIns="0"/>
          <a:lstStyle>
            <a:lvl1pPr marL="0" indent="0" algn="l">
              <a:spcBef>
                <a:spcPts val="0"/>
              </a:spcBef>
              <a:spcAft>
                <a:spcPts val="0"/>
              </a:spcAft>
              <a:buNone/>
              <a:defRPr sz="14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3895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791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687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558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9478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337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72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1166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Имя </a:t>
            </a:r>
            <a:r>
              <a:rPr lang="ru-RU" dirty="0" smtClean="0"/>
              <a:t>Фамилия</a:t>
            </a:r>
            <a:br>
              <a:rPr lang="ru-RU" dirty="0" smtClean="0"/>
            </a:br>
            <a:r>
              <a:rPr lang="ru-RU" dirty="0" smtClean="0"/>
              <a:t>Должность</a:t>
            </a:r>
            <a:br>
              <a:rPr lang="ru-RU" dirty="0" smtClean="0"/>
            </a:br>
            <a:r>
              <a:rPr lang="ru-RU" dirty="0" smtClean="0"/>
              <a:t>Компания </a:t>
            </a:r>
            <a:r>
              <a:rPr lang="ru-RU" dirty="0"/>
              <a:t>/ функция / направление</a:t>
            </a:r>
          </a:p>
        </p:txBody>
      </p:sp>
      <p:sp>
        <p:nvSpPr>
          <p:cNvPr id="16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611527" y="5194390"/>
            <a:ext cx="5350757" cy="681681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r>
              <a:rPr lang="ru-RU" dirty="0"/>
              <a:t>Название </a:t>
            </a:r>
            <a:r>
              <a:rPr lang="ru-RU" dirty="0" smtClean="0"/>
              <a:t>мероприятия</a:t>
            </a:r>
            <a:br>
              <a:rPr lang="ru-RU" dirty="0" smtClean="0"/>
            </a:br>
            <a:r>
              <a:rPr lang="ru-RU" dirty="0" smtClean="0"/>
              <a:t>Дата </a:t>
            </a:r>
            <a:r>
              <a:rPr lang="ru-RU" dirty="0"/>
              <a:t>проведения</a:t>
            </a:r>
          </a:p>
        </p:txBody>
      </p:sp>
      <p:sp>
        <p:nvSpPr>
          <p:cNvPr id="1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11525" y="1544017"/>
            <a:ext cx="5373979" cy="1961264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ru-RU" sz="3200" b="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050" y="460784"/>
            <a:ext cx="1085631" cy="20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62231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0.v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5.xml"/><Relationship Id="rId7" Type="http://schemas.openxmlformats.org/officeDocument/2006/relationships/theme" Target="../theme/theme2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oleObject" Target="../embeddings/oleObject10.bin"/><Relationship Id="rId5" Type="http://schemas.openxmlformats.org/officeDocument/2006/relationships/slideLayout" Target="../slideLayouts/slideLayout17.xml"/><Relationship Id="rId10" Type="http://schemas.openxmlformats.org/officeDocument/2006/relationships/tags" Target="../tags/tag20.xml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1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tags" Target="../tags/tag29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vmlDrawing" Target="../drawings/vmlDrawing16.v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0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23.xml"/><Relationship Id="rId15" Type="http://schemas.openxmlformats.org/officeDocument/2006/relationships/oleObject" Target="../embeddings/oleObject16.bin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tags" Target="../tags/tag3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6.xml"/><Relationship Id="rId13" Type="http://schemas.openxmlformats.org/officeDocument/2006/relationships/vmlDrawing" Target="../drawings/vmlDrawing17.v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1.xml"/><Relationship Id="rId7" Type="http://schemas.openxmlformats.org/officeDocument/2006/relationships/slideLayout" Target="../slideLayouts/slideLayout35.xml"/><Relationship Id="rId12" Type="http://schemas.openxmlformats.org/officeDocument/2006/relationships/theme" Target="../theme/theme4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30.xml"/><Relationship Id="rId16" Type="http://schemas.openxmlformats.org/officeDocument/2006/relationships/oleObject" Target="../embeddings/oleObject17.bin"/><Relationship Id="rId1" Type="http://schemas.openxmlformats.org/officeDocument/2006/relationships/slideLayout" Target="../slideLayouts/slideLayout29.xml"/><Relationship Id="rId6" Type="http://schemas.openxmlformats.org/officeDocument/2006/relationships/slideLayout" Target="../slideLayouts/slideLayout34.xml"/><Relationship Id="rId11" Type="http://schemas.openxmlformats.org/officeDocument/2006/relationships/slideLayout" Target="../slideLayouts/slideLayout39.xml"/><Relationship Id="rId5" Type="http://schemas.openxmlformats.org/officeDocument/2006/relationships/slideLayout" Target="../slideLayouts/slideLayout33.xml"/><Relationship Id="rId15" Type="http://schemas.openxmlformats.org/officeDocument/2006/relationships/tags" Target="../tags/tag32.xml"/><Relationship Id="rId10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2.xml"/><Relationship Id="rId9" Type="http://schemas.openxmlformats.org/officeDocument/2006/relationships/slideLayout" Target="../slideLayouts/slideLayout37.xml"/><Relationship Id="rId14" Type="http://schemas.openxmlformats.org/officeDocument/2006/relationships/tags" Target="../tags/tag3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tags" Target="../tags/tag39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vmlDrawing" Target="../drawings/vmlDrawing21.v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41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44.xml"/><Relationship Id="rId15" Type="http://schemas.openxmlformats.org/officeDocument/2006/relationships/oleObject" Target="../embeddings/oleObject21.bin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tags" Target="../tags/tag4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oleObject" Target="../embeddings/oleObject26.bin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tags" Target="../tags/tag50.xml"/><Relationship Id="rId5" Type="http://schemas.openxmlformats.org/officeDocument/2006/relationships/slideLayout" Target="../slideLayouts/slideLayout54.xml"/><Relationship Id="rId10" Type="http://schemas.openxmlformats.org/officeDocument/2006/relationships/tags" Target="../tags/tag49.xml"/><Relationship Id="rId4" Type="http://schemas.openxmlformats.org/officeDocument/2006/relationships/slideLayout" Target="../slideLayouts/slideLayout53.xml"/><Relationship Id="rId9" Type="http://schemas.openxmlformats.org/officeDocument/2006/relationships/vmlDrawing" Target="../drawings/vmlDrawing26.vml"/><Relationship Id="rId14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3" Type="http://schemas.openxmlformats.org/officeDocument/2006/relationships/slideLayout" Target="../slideLayouts/slideLayout59.xml"/><Relationship Id="rId7" Type="http://schemas.openxmlformats.org/officeDocument/2006/relationships/tags" Target="../tags/tag51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vmlDrawing" Target="../drawings/vmlDrawing27.vml"/><Relationship Id="rId11" Type="http://schemas.openxmlformats.org/officeDocument/2006/relationships/image" Target="../media/image2.png"/><Relationship Id="rId5" Type="http://schemas.openxmlformats.org/officeDocument/2006/relationships/theme" Target="../theme/theme7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60.xml"/><Relationship Id="rId9" Type="http://schemas.openxmlformats.org/officeDocument/2006/relationships/oleObject" Target="../embeddings/oleObject27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637970410"/>
              </p:ext>
            </p:extLst>
          </p:nvPr>
        </p:nvGraphicFramePr>
        <p:xfrm>
          <a:off x="1599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33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99" y="160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6"/>
            </p:custDataLst>
          </p:nvPr>
        </p:nvSpPr>
        <p:spPr bwMode="auto">
          <a:xfrm>
            <a:off x="0" y="1"/>
            <a:ext cx="171979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6900" y="1137922"/>
            <a:ext cx="9356100" cy="50644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428497" y="205471"/>
            <a:ext cx="9205437" cy="7032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6900" y="272720"/>
            <a:ext cx="9356100" cy="7056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334689" y="6534575"/>
            <a:ext cx="313690" cy="237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76900" y="6340605"/>
            <a:ext cx="6485700" cy="443416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765663" y="6557237"/>
            <a:ext cx="1014677" cy="223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ru-RU"/>
              <a:t>23.06.2020</a:t>
            </a:r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961719" y="6371085"/>
            <a:ext cx="2944283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10019846" y="3"/>
            <a:ext cx="409056" cy="582612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10019846" y="1165224"/>
            <a:ext cx="409056" cy="58420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10019846" y="582616"/>
            <a:ext cx="409056" cy="582613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10019846" y="4398980"/>
            <a:ext cx="409056" cy="582613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10019846" y="2073275"/>
            <a:ext cx="409056" cy="58420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10019846" y="2651127"/>
            <a:ext cx="409056" cy="582612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10019846" y="3233744"/>
            <a:ext cx="409056" cy="582613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10019846" y="38163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10019846" y="4981575"/>
            <a:ext cx="409056" cy="58420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10019846" y="5565775"/>
            <a:ext cx="409056" cy="58420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10019849" y="1165224"/>
            <a:ext cx="409056" cy="58420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10019849" y="582616"/>
            <a:ext cx="409056" cy="582613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10019849" y="4398984"/>
            <a:ext cx="409056" cy="582613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10019849" y="2073275"/>
            <a:ext cx="409056" cy="58420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10019849" y="2651127"/>
            <a:ext cx="409056" cy="582612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10019849" y="3233744"/>
            <a:ext cx="409056" cy="582613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10019849" y="38163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10019849" y="4981575"/>
            <a:ext cx="409056" cy="58420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10019849" y="5565775"/>
            <a:ext cx="409056" cy="58420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pic>
        <p:nvPicPr>
          <p:cNvPr id="31" name="Изображение 1"/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20063" y="6533672"/>
            <a:ext cx="966786" cy="182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2720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4" r:id="rId1"/>
    <p:sldLayoutId id="2147484252" r:id="rId2"/>
    <p:sldLayoutId id="2147484225" r:id="rId3"/>
    <p:sldLayoutId id="2147484207" r:id="rId4"/>
    <p:sldLayoutId id="2147484205" r:id="rId5"/>
    <p:sldLayoutId id="2147484251" r:id="rId6"/>
    <p:sldLayoutId id="2147484206" r:id="rId7"/>
    <p:sldLayoutId id="2147484250" r:id="rId8"/>
    <p:sldLayoutId id="2147484228" r:id="rId9"/>
    <p:sldLayoutId id="2147484247" r:id="rId10"/>
    <p:sldLayoutId id="2147484245" r:id="rId11"/>
    <p:sldLayoutId id="2147484306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4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4">
          <p15:clr>
            <a:srgbClr val="F26B43"/>
          </p15:clr>
        </p15:guide>
        <p15:guide id="2" pos="171">
          <p15:clr>
            <a:srgbClr val="F26B43"/>
          </p15:clr>
        </p15:guide>
        <p15:guide id="3" orient="horz" pos="3913">
          <p15:clr>
            <a:srgbClr val="F26B43"/>
          </p15:clr>
        </p15:guide>
        <p15:guide id="4" pos="6069">
          <p15:clr>
            <a:srgbClr val="F26B43"/>
          </p15:clr>
        </p15:guide>
        <p15:guide id="5" orient="horz" pos="617">
          <p15:clr>
            <a:srgbClr val="F26B43"/>
          </p15:clr>
        </p15:guide>
        <p15:guide id="6" orient="horz" pos="708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988791026"/>
              </p:ext>
            </p:extLst>
          </p:nvPr>
        </p:nvGraphicFramePr>
        <p:xfrm>
          <a:off x="1599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153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99" y="160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0"/>
            </p:custDataLst>
          </p:nvPr>
        </p:nvSpPr>
        <p:spPr bwMode="auto">
          <a:xfrm>
            <a:off x="0" y="1"/>
            <a:ext cx="171979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6900" y="1137922"/>
            <a:ext cx="9356100" cy="50644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428497" y="205471"/>
            <a:ext cx="9205437" cy="7032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6900" y="272720"/>
            <a:ext cx="9356100" cy="7056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334689" y="6534575"/>
            <a:ext cx="313690" cy="237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76900" y="6340605"/>
            <a:ext cx="6485700" cy="443416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765663" y="6557237"/>
            <a:ext cx="1014677" cy="223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ru-RU"/>
              <a:t>23.06.2020</a:t>
            </a:r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961719" y="6371085"/>
            <a:ext cx="2944283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10019846" y="3"/>
            <a:ext cx="409056" cy="582612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10019846" y="1165224"/>
            <a:ext cx="409056" cy="58420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10019846" y="582616"/>
            <a:ext cx="409056" cy="582613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10019846" y="4398980"/>
            <a:ext cx="409056" cy="582613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10019846" y="2073275"/>
            <a:ext cx="409056" cy="58420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10019846" y="2651127"/>
            <a:ext cx="409056" cy="582612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10019846" y="3233744"/>
            <a:ext cx="409056" cy="582613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10019846" y="38163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10019846" y="4981575"/>
            <a:ext cx="409056" cy="58420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10019846" y="5565775"/>
            <a:ext cx="409056" cy="58420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10019849" y="1165224"/>
            <a:ext cx="409056" cy="58420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10019849" y="582616"/>
            <a:ext cx="409056" cy="582613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10019849" y="4398984"/>
            <a:ext cx="409056" cy="582613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10019849" y="2073275"/>
            <a:ext cx="409056" cy="58420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10019849" y="2651127"/>
            <a:ext cx="409056" cy="582612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10019849" y="3233744"/>
            <a:ext cx="409056" cy="582613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10019849" y="38163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10019849" y="4981575"/>
            <a:ext cx="409056" cy="58420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10019849" y="5565775"/>
            <a:ext cx="409056" cy="58420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pic>
        <p:nvPicPr>
          <p:cNvPr id="31" name="Изображение 1"/>
          <p:cNvPicPr>
            <a:picLocks noChangeAspect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20063" y="6533672"/>
            <a:ext cx="966786" cy="182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85548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4200" r:id="rId3"/>
    <p:sldLayoutId id="2147484201" r:id="rId4"/>
    <p:sldLayoutId id="2147484202" r:id="rId5"/>
    <p:sldLayoutId id="2147484289" r:id="rId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4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4">
          <p15:clr>
            <a:srgbClr val="F26B43"/>
          </p15:clr>
        </p15:guide>
        <p15:guide id="2" pos="171">
          <p15:clr>
            <a:srgbClr val="F26B43"/>
          </p15:clr>
        </p15:guide>
        <p15:guide id="3" orient="horz" pos="3913">
          <p15:clr>
            <a:srgbClr val="F26B43"/>
          </p15:clr>
        </p15:guide>
        <p15:guide id="4" pos="6069">
          <p15:clr>
            <a:srgbClr val="F26B43"/>
          </p15:clr>
        </p15:guide>
        <p15:guide id="5" orient="horz" pos="617">
          <p15:clr>
            <a:srgbClr val="F26B43"/>
          </p15:clr>
        </p15:guide>
        <p15:guide id="6" orient="horz" pos="708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706317235"/>
              </p:ext>
            </p:extLst>
          </p:nvPr>
        </p:nvGraphicFramePr>
        <p:xfrm>
          <a:off x="1599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78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99" y="160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4"/>
            </p:custDataLst>
          </p:nvPr>
        </p:nvSpPr>
        <p:spPr bwMode="auto">
          <a:xfrm>
            <a:off x="0" y="1"/>
            <a:ext cx="171979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6900" y="1137922"/>
            <a:ext cx="9356100" cy="50644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428497" y="205471"/>
            <a:ext cx="9205437" cy="7032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6900" y="272720"/>
            <a:ext cx="9356100" cy="7056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334689" y="6534575"/>
            <a:ext cx="313690" cy="237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76900" y="6340605"/>
            <a:ext cx="6485700" cy="443416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765663" y="6557237"/>
            <a:ext cx="1014677" cy="223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ru-RU"/>
              <a:t>23.06.2020</a:t>
            </a:r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961719" y="6371085"/>
            <a:ext cx="2944283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10019846" y="3"/>
            <a:ext cx="409056" cy="582612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10019846" y="1165224"/>
            <a:ext cx="409056" cy="58420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10019846" y="582616"/>
            <a:ext cx="409056" cy="582613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10019846" y="4398980"/>
            <a:ext cx="409056" cy="582613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10019846" y="2073275"/>
            <a:ext cx="409056" cy="58420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10019846" y="2651127"/>
            <a:ext cx="409056" cy="582612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10019846" y="3233744"/>
            <a:ext cx="409056" cy="582613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10019846" y="38163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10019846" y="4981575"/>
            <a:ext cx="409056" cy="58420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10019846" y="5565775"/>
            <a:ext cx="409056" cy="58420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10019849" y="1165224"/>
            <a:ext cx="409056" cy="58420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10019849" y="582616"/>
            <a:ext cx="409056" cy="582613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10019849" y="4398984"/>
            <a:ext cx="409056" cy="582613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10019849" y="2073275"/>
            <a:ext cx="409056" cy="58420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10019849" y="2651127"/>
            <a:ext cx="409056" cy="582612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10019849" y="3233744"/>
            <a:ext cx="409056" cy="582613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10019849" y="38163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10019849" y="4981575"/>
            <a:ext cx="409056" cy="58420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10019849" y="5565775"/>
            <a:ext cx="409056" cy="58420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pic>
        <p:nvPicPr>
          <p:cNvPr id="31" name="Изображение 1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20063" y="6533672"/>
            <a:ext cx="966786" cy="182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6366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2" r:id="rId1"/>
    <p:sldLayoutId id="2147484268" r:id="rId2"/>
    <p:sldLayoutId id="2147484263" r:id="rId3"/>
    <p:sldLayoutId id="2147484264" r:id="rId4"/>
    <p:sldLayoutId id="2147484269" r:id="rId5"/>
    <p:sldLayoutId id="2147484283" r:id="rId6"/>
    <p:sldLayoutId id="2147484284" r:id="rId7"/>
    <p:sldLayoutId id="2147484270" r:id="rId8"/>
    <p:sldLayoutId id="2147484271" r:id="rId9"/>
    <p:sldLayoutId id="2147484266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4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4">
          <p15:clr>
            <a:srgbClr val="F26B43"/>
          </p15:clr>
        </p15:guide>
        <p15:guide id="2" pos="171">
          <p15:clr>
            <a:srgbClr val="F26B43"/>
          </p15:clr>
        </p15:guide>
        <p15:guide id="3" orient="horz" pos="3913">
          <p15:clr>
            <a:srgbClr val="F26B43"/>
          </p15:clr>
        </p15:guide>
        <p15:guide id="4" pos="6069">
          <p15:clr>
            <a:srgbClr val="F26B43"/>
          </p15:clr>
        </p15:guide>
        <p15:guide id="5" orient="horz" pos="617">
          <p15:clr>
            <a:srgbClr val="F26B43"/>
          </p15:clr>
        </p15:guide>
        <p15:guide id="6" orient="horz" pos="708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921499133"/>
              </p:ext>
            </p:extLst>
          </p:nvPr>
        </p:nvGraphicFramePr>
        <p:xfrm>
          <a:off x="1599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203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99" y="160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5"/>
            </p:custDataLst>
          </p:nvPr>
        </p:nvSpPr>
        <p:spPr bwMode="auto">
          <a:xfrm>
            <a:off x="0" y="1"/>
            <a:ext cx="171979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6900" y="1137922"/>
            <a:ext cx="9356100" cy="50644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428497" y="205471"/>
            <a:ext cx="9205437" cy="7032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6900" y="272720"/>
            <a:ext cx="9356100" cy="7056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334689" y="6534575"/>
            <a:ext cx="313690" cy="237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76900" y="6340605"/>
            <a:ext cx="6485700" cy="443416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765663" y="6557237"/>
            <a:ext cx="1014677" cy="223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ru-RU"/>
              <a:t>23.06.2020</a:t>
            </a:r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961719" y="6371085"/>
            <a:ext cx="2944283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10019846" y="3"/>
            <a:ext cx="409056" cy="582612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10019846" y="1165224"/>
            <a:ext cx="409056" cy="58420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10019846" y="582616"/>
            <a:ext cx="409056" cy="582613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10019846" y="4398980"/>
            <a:ext cx="409056" cy="582613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10019846" y="2073275"/>
            <a:ext cx="409056" cy="58420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10019846" y="2651127"/>
            <a:ext cx="409056" cy="582612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10019846" y="3233744"/>
            <a:ext cx="409056" cy="582613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10019846" y="38163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10019846" y="4981575"/>
            <a:ext cx="409056" cy="58420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10019846" y="5565775"/>
            <a:ext cx="409056" cy="58420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10019849" y="1165224"/>
            <a:ext cx="409056" cy="58420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10019849" y="582616"/>
            <a:ext cx="409056" cy="582613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10019849" y="4398984"/>
            <a:ext cx="409056" cy="582613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10019849" y="2073275"/>
            <a:ext cx="409056" cy="58420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10019849" y="2651127"/>
            <a:ext cx="409056" cy="582612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10019849" y="3233744"/>
            <a:ext cx="409056" cy="582613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10019849" y="38163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10019849" y="4981575"/>
            <a:ext cx="409056" cy="58420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10019849" y="5565775"/>
            <a:ext cx="409056" cy="58420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pic>
        <p:nvPicPr>
          <p:cNvPr id="31" name="Изображение 1"/>
          <p:cNvPicPr>
            <a:picLocks noChangeAspect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20063" y="6533672"/>
            <a:ext cx="966786" cy="182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8315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3" r:id="rId1"/>
    <p:sldLayoutId id="2147484260" r:id="rId2"/>
    <p:sldLayoutId id="2147484275" r:id="rId3"/>
    <p:sldLayoutId id="2147484277" r:id="rId4"/>
    <p:sldLayoutId id="2147484276" r:id="rId5"/>
    <p:sldLayoutId id="2147484288" r:id="rId6"/>
    <p:sldLayoutId id="2147484265" r:id="rId7"/>
    <p:sldLayoutId id="2147484285" r:id="rId8"/>
    <p:sldLayoutId id="2147484304" r:id="rId9"/>
    <p:sldLayoutId id="2147484305" r:id="rId10"/>
    <p:sldLayoutId id="2147484303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4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4">
          <p15:clr>
            <a:srgbClr val="F26B43"/>
          </p15:clr>
        </p15:guide>
        <p15:guide id="2" pos="171">
          <p15:clr>
            <a:srgbClr val="F26B43"/>
          </p15:clr>
        </p15:guide>
        <p15:guide id="3" orient="horz" pos="3913">
          <p15:clr>
            <a:srgbClr val="F26B43"/>
          </p15:clr>
        </p15:guide>
        <p15:guide id="4" pos="6069">
          <p15:clr>
            <a:srgbClr val="F26B43"/>
          </p15:clr>
        </p15:guide>
        <p15:guide id="5" orient="horz" pos="617">
          <p15:clr>
            <a:srgbClr val="F26B43"/>
          </p15:clr>
        </p15:guide>
        <p15:guide id="6" orient="horz" pos="708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189909907"/>
              </p:ext>
            </p:extLst>
          </p:nvPr>
        </p:nvGraphicFramePr>
        <p:xfrm>
          <a:off x="1599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227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99" y="160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4"/>
            </p:custDataLst>
          </p:nvPr>
        </p:nvSpPr>
        <p:spPr bwMode="auto">
          <a:xfrm>
            <a:off x="0" y="1"/>
            <a:ext cx="171979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6900" y="1137922"/>
            <a:ext cx="9356100" cy="50644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428497" y="205471"/>
            <a:ext cx="9205437" cy="7032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6900" y="272720"/>
            <a:ext cx="9356100" cy="7056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334689" y="6534575"/>
            <a:ext cx="313690" cy="237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76900" y="6340605"/>
            <a:ext cx="6485700" cy="443416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765663" y="6557237"/>
            <a:ext cx="1014677" cy="223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ru-RU"/>
              <a:t>23.06.2020</a:t>
            </a:r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961719" y="6371085"/>
            <a:ext cx="2944283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10019846" y="3"/>
            <a:ext cx="409056" cy="582612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10019846" y="1165224"/>
            <a:ext cx="409056" cy="58420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10019846" y="582616"/>
            <a:ext cx="409056" cy="582613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10019846" y="4398980"/>
            <a:ext cx="409056" cy="582613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10019846" y="2073275"/>
            <a:ext cx="409056" cy="58420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10019846" y="2651127"/>
            <a:ext cx="409056" cy="582612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10019846" y="3233744"/>
            <a:ext cx="409056" cy="582613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10019846" y="38163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10019846" y="4981575"/>
            <a:ext cx="409056" cy="58420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10019846" y="5565775"/>
            <a:ext cx="409056" cy="58420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10019849" y="1165224"/>
            <a:ext cx="409056" cy="58420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10019849" y="582616"/>
            <a:ext cx="409056" cy="582613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10019849" y="4398984"/>
            <a:ext cx="409056" cy="582613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10019849" y="2073275"/>
            <a:ext cx="409056" cy="58420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10019849" y="2651127"/>
            <a:ext cx="409056" cy="582612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10019849" y="3233744"/>
            <a:ext cx="409056" cy="582613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10019849" y="38163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10019849" y="4981575"/>
            <a:ext cx="409056" cy="58420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10019849" y="5565775"/>
            <a:ext cx="409056" cy="58420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pic>
        <p:nvPicPr>
          <p:cNvPr id="31" name="Изображение 1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20063" y="6533672"/>
            <a:ext cx="966786" cy="182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56681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6" r:id="rId1"/>
    <p:sldLayoutId id="2147484274" r:id="rId2"/>
    <p:sldLayoutId id="2147484267" r:id="rId3"/>
    <p:sldLayoutId id="2147484272" r:id="rId4"/>
    <p:sldLayoutId id="2147484256" r:id="rId5"/>
    <p:sldLayoutId id="2147484273" r:id="rId6"/>
    <p:sldLayoutId id="2147484299" r:id="rId7"/>
    <p:sldLayoutId id="2147484302" r:id="rId8"/>
    <p:sldLayoutId id="2147484301" r:id="rId9"/>
    <p:sldLayoutId id="2147484300" r:id="rId10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4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4">
          <p15:clr>
            <a:srgbClr val="F26B43"/>
          </p15:clr>
        </p15:guide>
        <p15:guide id="2" pos="171">
          <p15:clr>
            <a:srgbClr val="F26B43"/>
          </p15:clr>
        </p15:guide>
        <p15:guide id="3" orient="horz" pos="3913">
          <p15:clr>
            <a:srgbClr val="F26B43"/>
          </p15:clr>
        </p15:guide>
        <p15:guide id="4" pos="6069">
          <p15:clr>
            <a:srgbClr val="F26B43"/>
          </p15:clr>
        </p15:guide>
        <p15:guide id="5" orient="horz" pos="617">
          <p15:clr>
            <a:srgbClr val="F26B43"/>
          </p15:clr>
        </p15:guide>
        <p15:guide id="6" orient="horz" pos="708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134420895"/>
              </p:ext>
            </p:extLst>
          </p:nvPr>
        </p:nvGraphicFramePr>
        <p:xfrm>
          <a:off x="1599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252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99" y="160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1"/>
            </p:custDataLst>
          </p:nvPr>
        </p:nvSpPr>
        <p:spPr bwMode="auto">
          <a:xfrm>
            <a:off x="0" y="1"/>
            <a:ext cx="171979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6900" y="1137922"/>
            <a:ext cx="9356100" cy="50644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428497" y="205471"/>
            <a:ext cx="9205437" cy="7032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6900" y="272720"/>
            <a:ext cx="9356100" cy="7056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334689" y="6534575"/>
            <a:ext cx="313690" cy="237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76900" y="6340605"/>
            <a:ext cx="6485700" cy="443416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765663" y="6557237"/>
            <a:ext cx="1014677" cy="223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ru-RU"/>
              <a:t>23.06.2020</a:t>
            </a:r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961719" y="6371085"/>
            <a:ext cx="2944283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10019846" y="3"/>
            <a:ext cx="409056" cy="582612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10019846" y="1165224"/>
            <a:ext cx="409056" cy="58420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10019846" y="582616"/>
            <a:ext cx="409056" cy="582613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10019846" y="4398980"/>
            <a:ext cx="409056" cy="582613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10019846" y="2073275"/>
            <a:ext cx="409056" cy="58420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10019846" y="2651127"/>
            <a:ext cx="409056" cy="582612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10019846" y="3233744"/>
            <a:ext cx="409056" cy="582613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10019846" y="38163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10019846" y="4981575"/>
            <a:ext cx="409056" cy="58420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10019846" y="5565775"/>
            <a:ext cx="409056" cy="58420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10019849" y="1165224"/>
            <a:ext cx="409056" cy="58420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10019849" y="582616"/>
            <a:ext cx="409056" cy="582613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10019849" y="4398984"/>
            <a:ext cx="409056" cy="582613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10019849" y="2073275"/>
            <a:ext cx="409056" cy="58420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10019849" y="2651127"/>
            <a:ext cx="409056" cy="582612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10019849" y="3233744"/>
            <a:ext cx="409056" cy="582613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10019849" y="38163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10019849" y="4981575"/>
            <a:ext cx="409056" cy="58420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10019849" y="5565775"/>
            <a:ext cx="409056" cy="58420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pic>
        <p:nvPicPr>
          <p:cNvPr id="31" name="Изображение 1"/>
          <p:cNvPicPr>
            <a:picLocks noChangeAspect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20063" y="6533672"/>
            <a:ext cx="966786" cy="182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2247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4" r:id="rId1"/>
    <p:sldLayoutId id="2147484287" r:id="rId2"/>
    <p:sldLayoutId id="2147484261" r:id="rId3"/>
    <p:sldLayoutId id="2147484278" r:id="rId4"/>
    <p:sldLayoutId id="2147484296" r:id="rId5"/>
    <p:sldLayoutId id="2147484297" r:id="rId6"/>
    <p:sldLayoutId id="2147484298" r:id="rId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4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4">
          <p15:clr>
            <a:srgbClr val="F26B43"/>
          </p15:clr>
        </p15:guide>
        <p15:guide id="2" pos="171">
          <p15:clr>
            <a:srgbClr val="F26B43"/>
          </p15:clr>
        </p15:guide>
        <p15:guide id="3" orient="horz" pos="3913">
          <p15:clr>
            <a:srgbClr val="F26B43"/>
          </p15:clr>
        </p15:guide>
        <p15:guide id="4" pos="6069">
          <p15:clr>
            <a:srgbClr val="F26B43"/>
          </p15:clr>
        </p15:guide>
        <p15:guide id="5" orient="horz" pos="617">
          <p15:clr>
            <a:srgbClr val="F26B43"/>
          </p15:clr>
        </p15:guide>
        <p15:guide id="6" orient="horz" pos="708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929522580"/>
              </p:ext>
            </p:extLst>
          </p:nvPr>
        </p:nvGraphicFramePr>
        <p:xfrm>
          <a:off x="1599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274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9" y="160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8"/>
            </p:custDataLst>
          </p:nvPr>
        </p:nvSpPr>
        <p:spPr bwMode="auto">
          <a:xfrm>
            <a:off x="0" y="1"/>
            <a:ext cx="171979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6900" y="1137922"/>
            <a:ext cx="9356100" cy="50644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38952" rIns="77903" bIns="389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428497" y="205471"/>
            <a:ext cx="9205437" cy="7032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76900" y="272720"/>
            <a:ext cx="9356100" cy="7056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334689" y="6534575"/>
            <a:ext cx="313690" cy="237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8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276900" y="6340605"/>
            <a:ext cx="6485700" cy="443416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rgbClr val="008C95"/>
                </a:solidFill>
              </a:defRPr>
            </a:lvl1pPr>
          </a:lstStyle>
          <a:p>
            <a:r>
              <a:rPr lang="ru-RU"/>
              <a:t>Название презентации. Мероприятие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765663" y="6557237"/>
            <a:ext cx="1014677" cy="2239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r>
              <a:rPr lang="ru-RU"/>
              <a:t>23.06.2020</a:t>
            </a:r>
          </a:p>
        </p:txBody>
      </p:sp>
      <p:cxnSp>
        <p:nvCxnSpPr>
          <p:cNvPr id="45" name="Прямая соединительная линия 44"/>
          <p:cNvCxnSpPr/>
          <p:nvPr/>
        </p:nvCxnSpPr>
        <p:spPr bwMode="auto">
          <a:xfrm>
            <a:off x="6961719" y="6371085"/>
            <a:ext cx="2944283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6" name="Прямоугольник 35"/>
          <p:cNvSpPr/>
          <p:nvPr/>
        </p:nvSpPr>
        <p:spPr>
          <a:xfrm>
            <a:off x="10019846" y="3"/>
            <a:ext cx="409056" cy="582612"/>
          </a:xfrm>
          <a:prstGeom prst="rect">
            <a:avLst/>
          </a:prstGeom>
          <a:solidFill>
            <a:srgbClr val="008C95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700" dirty="0">
                <a:solidFill>
                  <a:srgbClr val="FFFFFF"/>
                </a:solidFill>
              </a:rPr>
              <a:t>140</a:t>
            </a:r>
            <a:endParaRPr lang="ru-RU" sz="7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</a:t>
            </a:r>
            <a:r>
              <a:rPr lang="en-US" sz="700" dirty="0">
                <a:solidFill>
                  <a:srgbClr val="FFFFFF"/>
                </a:solidFill>
              </a:rPr>
              <a:t>49</a:t>
            </a:r>
            <a:endParaRPr lang="ru-RU" sz="700" dirty="0">
              <a:solidFill>
                <a:srgbClr val="FFFFFF"/>
              </a:solidFill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10019846" y="1165224"/>
            <a:ext cx="409056" cy="58420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10019846" y="582616"/>
            <a:ext cx="409056" cy="582613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10019846" y="4398980"/>
            <a:ext cx="409056" cy="582613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4" name="Прямоугольник 43"/>
          <p:cNvSpPr/>
          <p:nvPr/>
        </p:nvSpPr>
        <p:spPr>
          <a:xfrm>
            <a:off x="10019846" y="2073275"/>
            <a:ext cx="409056" cy="58420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10019846" y="2651127"/>
            <a:ext cx="409056" cy="582612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10019846" y="3233744"/>
            <a:ext cx="409056" cy="582613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10019846" y="38163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10019846" y="4981575"/>
            <a:ext cx="409056" cy="58420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10019846" y="5565775"/>
            <a:ext cx="409056" cy="58420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10019849" y="1165224"/>
            <a:ext cx="409056" cy="584200"/>
          </a:xfrm>
          <a:prstGeom prst="rect">
            <a:avLst/>
          </a:prstGeom>
          <a:solidFill>
            <a:srgbClr val="D0D0D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8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10019849" y="582616"/>
            <a:ext cx="409056" cy="582613"/>
          </a:xfrm>
          <a:prstGeom prst="rect">
            <a:avLst/>
          </a:prstGeom>
          <a:solidFill>
            <a:srgbClr val="99CC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0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10019849" y="4398984"/>
            <a:ext cx="409056" cy="582613"/>
          </a:xfrm>
          <a:prstGeom prst="rect">
            <a:avLst/>
          </a:prstGeom>
          <a:solidFill>
            <a:srgbClr val="E5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29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10019849" y="2073275"/>
            <a:ext cx="409056" cy="584200"/>
          </a:xfrm>
          <a:prstGeom prst="rect">
            <a:avLst/>
          </a:prstGeom>
          <a:solidFill>
            <a:srgbClr val="F2F2F2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10019849" y="2651127"/>
            <a:ext cx="409056" cy="582612"/>
          </a:xfrm>
          <a:prstGeom prst="rect">
            <a:avLst/>
          </a:prstGeom>
          <a:solidFill>
            <a:srgbClr val="B2D2D8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216</a:t>
            </a:r>
          </a:p>
        </p:txBody>
      </p:sp>
      <p:sp>
        <p:nvSpPr>
          <p:cNvPr id="56" name="Прямоугольник 55"/>
          <p:cNvSpPr/>
          <p:nvPr/>
        </p:nvSpPr>
        <p:spPr>
          <a:xfrm>
            <a:off x="10019849" y="3233744"/>
            <a:ext cx="409056" cy="582613"/>
          </a:xfrm>
          <a:prstGeom prst="rect">
            <a:avLst/>
          </a:prstGeom>
          <a:solidFill>
            <a:srgbClr val="FFC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10019849" y="3816351"/>
            <a:ext cx="409056" cy="582612"/>
          </a:xfrm>
          <a:prstGeom prst="rect">
            <a:avLst/>
          </a:prstGeom>
          <a:solidFill>
            <a:srgbClr val="C0000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10019849" y="4981575"/>
            <a:ext cx="409056" cy="584200"/>
          </a:xfrm>
          <a:prstGeom prst="rect">
            <a:avLst/>
          </a:prstGeom>
          <a:solidFill>
            <a:srgbClr val="808080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10019849" y="5565775"/>
            <a:ext cx="409056" cy="584200"/>
          </a:xfrm>
          <a:prstGeom prst="rect">
            <a:avLst/>
          </a:prstGeom>
          <a:solidFill>
            <a:srgbClr val="F58A1F"/>
          </a:solidFill>
          <a:ln w="31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7903" tIns="38952" rIns="77903" bIns="38952" anchor="ctr"/>
          <a:lstStyle>
            <a:defPPr>
              <a:defRPr lang="ru-RU"/>
            </a:defPPr>
            <a:lvl1pPr marL="0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8958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779163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168745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558326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947908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337489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727071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116652" algn="l" defTabSz="779163" rtl="0" eaLnBrk="1" latinLnBrk="0" hangingPunct="1">
              <a:defRPr sz="15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700" dirty="0">
                <a:solidFill>
                  <a:srgbClr val="FFFFFF"/>
                </a:solidFill>
              </a:rPr>
              <a:t>31</a:t>
            </a:r>
          </a:p>
        </p:txBody>
      </p:sp>
      <p:pic>
        <p:nvPicPr>
          <p:cNvPr id="31" name="Изображение 1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20063" y="6533672"/>
            <a:ext cx="966786" cy="182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4750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9" r:id="rId1"/>
    <p:sldLayoutId id="2147484280" r:id="rId2"/>
    <p:sldLayoutId id="2147484281" r:id="rId3"/>
    <p:sldLayoutId id="2147484282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400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2pPr>
      <a:lvl3pPr marL="36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3pPr>
      <a:lvl4pPr marL="54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4pPr>
      <a:lvl5pPr marL="720000" indent="-18000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000">
          <a:solidFill>
            <a:schemeClr val="tx1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64">
          <p15:clr>
            <a:srgbClr val="F26B43"/>
          </p15:clr>
        </p15:guide>
        <p15:guide id="2" pos="171">
          <p15:clr>
            <a:srgbClr val="F26B43"/>
          </p15:clr>
        </p15:guide>
        <p15:guide id="3" orient="horz" pos="3913">
          <p15:clr>
            <a:srgbClr val="F26B43"/>
          </p15:clr>
        </p15:guide>
        <p15:guide id="4" pos="6069">
          <p15:clr>
            <a:srgbClr val="F26B43"/>
          </p15:clr>
        </p15:guide>
        <p15:guide id="5" orient="horz" pos="617">
          <p15:clr>
            <a:srgbClr val="F26B43"/>
          </p15:clr>
        </p15:guide>
        <p15:guide id="6" orient="horz" pos="70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2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4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3.emf"/><Relationship Id="rId4" Type="http://schemas.openxmlformats.org/officeDocument/2006/relationships/image" Target="../media/image12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одзаголовок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 smtClean="0"/>
              <a:t>Змитрович Людмила Александровна</a:t>
            </a:r>
          </a:p>
          <a:p>
            <a:r>
              <a:rPr lang="ru-RU" dirty="0"/>
              <a:t>Ведущий специалист</a:t>
            </a:r>
            <a:br>
              <a:rPr lang="ru-RU" dirty="0"/>
            </a:br>
            <a:r>
              <a:rPr lang="ru-RU" dirty="0"/>
              <a:t>ОП Томск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ru-RU" dirty="0"/>
              <a:t>Знакомство с </a:t>
            </a:r>
            <a:r>
              <a:rPr lang="en-US" dirty="0"/>
              <a:t>Windows </a:t>
            </a:r>
            <a:r>
              <a:rPr lang="en-US" dirty="0" smtClean="0"/>
              <a:t>10</a:t>
            </a:r>
            <a:endParaRPr lang="ru-RU" dirty="0" smtClean="0"/>
          </a:p>
          <a:p>
            <a:r>
              <a:rPr lang="ru-RU" dirty="0" smtClean="0"/>
              <a:t>29.12.2020</a:t>
            </a:r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Знакомство с </a:t>
            </a:r>
            <a:r>
              <a:rPr lang="en-US" dirty="0" smtClean="0"/>
              <a:t>Windows 10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514426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Буфер обмена на несколько элементов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76900" y="855853"/>
            <a:ext cx="8989020" cy="18705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u-RU" sz="1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</a:t>
            </a:r>
            <a:r>
              <a:rPr lang="ru-RU" sz="18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indows</a:t>
            </a:r>
            <a:r>
              <a:rPr lang="ru-RU" sz="1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10 появилась новая функция для операционных систем этого класса – буфер обмена с историей. Обычно при копировании нового элемента, старая информация из него удаляется. При включении такой функции буфер может одновременно удерживать в памяти несколько элементов, из которых пользователь может выбирать необходимый в данный момент и вставлять именно его. Причём это может быть и текстовая информация, и картинки, и любой файл.</a:t>
            </a:r>
            <a:endParaRPr lang="ru-RU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146526" y="4116798"/>
            <a:ext cx="1252266" cy="523220"/>
          </a:xfrm>
          <a:prstGeom prst="rect">
            <a:avLst/>
          </a:prstGeom>
          <a:noFill/>
          <a:ln w="38100">
            <a:solidFill>
              <a:schemeClr val="accent1">
                <a:lumMod val="75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en-US" sz="2800" dirty="0" err="1" smtClean="0"/>
              <a:t>Win+V</a:t>
            </a:r>
            <a:endParaRPr lang="ru-RU" sz="2800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41804" y="2726366"/>
            <a:ext cx="2879466" cy="3535098"/>
          </a:xfrm>
          <a:prstGeom prst="rect">
            <a:avLst/>
          </a:prstGeom>
        </p:spPr>
      </p:pic>
      <p:sp>
        <p:nvSpPr>
          <p:cNvPr id="6" name="Стрелка вправо 5"/>
          <p:cNvSpPr/>
          <p:nvPr/>
        </p:nvSpPr>
        <p:spPr bwMode="auto">
          <a:xfrm>
            <a:off x="3675018" y="4116798"/>
            <a:ext cx="714103" cy="496388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75732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Виртуальные рабочие столы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76900" y="856400"/>
            <a:ext cx="93561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450"/>
              </a:spcBef>
              <a:spcAft>
                <a:spcPts val="1500"/>
              </a:spcAft>
            </a:pPr>
            <a:r>
              <a:rPr lang="ru-RU" sz="1800" b="1" i="1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Win+Tab</a:t>
            </a:r>
            <a:r>
              <a:rPr lang="ru-RU" sz="1800" i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 — открывает </a:t>
            </a:r>
            <a:r>
              <a:rPr lang="ru-RU" sz="1800" i="1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Task</a:t>
            </a:r>
            <a:r>
              <a:rPr lang="ru-RU" sz="1800" i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ru-RU" sz="1800" i="1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View</a:t>
            </a:r>
            <a:r>
              <a:rPr lang="ru-RU" sz="1800" i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(Представление задач).</a:t>
            </a:r>
            <a:r>
              <a:rPr lang="ru-RU" sz="18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/>
            </a:r>
            <a:br>
              <a:rPr lang="ru-RU" sz="18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</a:br>
            <a:r>
              <a:rPr lang="ru-RU" sz="1800" b="1" i="1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Win+Ctrl+D</a:t>
            </a:r>
            <a:r>
              <a:rPr lang="ru-RU" sz="1800" i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 — создает новый рабочий стол.</a:t>
            </a:r>
            <a:r>
              <a:rPr lang="ru-RU" sz="18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/>
            </a:r>
            <a:br>
              <a:rPr lang="ru-RU" sz="18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</a:br>
            <a:r>
              <a:rPr lang="ru-RU" sz="1800" b="1" i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Win+Ctrl+F4</a:t>
            </a:r>
            <a:r>
              <a:rPr lang="ru-RU" sz="1800" i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 — закрывает текущий рабочий стол.</a:t>
            </a:r>
            <a:r>
              <a:rPr lang="ru-RU" sz="18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/>
            </a:r>
            <a:br>
              <a:rPr lang="ru-RU" sz="18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</a:br>
            <a:r>
              <a:rPr lang="ru-RU" sz="1800" b="1" i="1" dirty="0" err="1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Win+Ctrl</a:t>
            </a:r>
            <a:r>
              <a:rPr lang="ru-RU" sz="1800" b="1" i="1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+</a:t>
            </a:r>
            <a:r>
              <a:rPr lang="en-US" sz="1800" b="1" i="1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→</a:t>
            </a:r>
            <a:r>
              <a:rPr lang="ru-RU" sz="1800" b="1" i="1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ru-RU" sz="1800" b="1" i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или </a:t>
            </a:r>
            <a:r>
              <a:rPr lang="en-US" sz="1800" b="1" i="1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←</a:t>
            </a:r>
            <a:r>
              <a:rPr lang="ru-RU" sz="1800" i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 — открывает предыдущий или последующий рабочий стол.</a:t>
            </a:r>
            <a:endParaRPr lang="ru-RU" sz="16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62151" y="2466238"/>
            <a:ext cx="9185597" cy="33424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ВАЖНО:</a:t>
            </a:r>
            <a:endParaRPr lang="ru-RU" b="1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все рабочие столы используют общие ресурсы компьютера (чем больше рабочих столов и открытых приложений, тем больше нагрузка на компьютер)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виртуальные рабочие столы будут закрыты после выключения (перезагрузки) компьютера)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рабочие столы нельзя перемещать по очередности и переименовывать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если у вас два монитора, нельзя создать два рабочих стола (по одному на каждый экран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нельзя переименовать созданную виртуальную зоны (по умолчанию всегда Рабочий стол 1,2,3…)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/>
              <a:t>не меняется последовательность добавленных столов (поставить последний на первое место не получится</a:t>
            </a:r>
            <a:r>
              <a:rPr lang="ru-RU" dirty="0" smtClean="0"/>
              <a:t>)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006166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2</a:t>
            </a:fld>
            <a:endParaRPr lang="ru-RU" dirty="0"/>
          </a:p>
        </p:txBody>
      </p:sp>
      <p:sp>
        <p:nvSpPr>
          <p:cNvPr id="3" name="Заголовок 1"/>
          <p:cNvSpPr txBox="1">
            <a:spLocks/>
          </p:cNvSpPr>
          <p:nvPr/>
        </p:nvSpPr>
        <p:spPr>
          <a:xfrm>
            <a:off x="276900" y="272720"/>
            <a:ext cx="9356100" cy="705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4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/>
              <a:t>Разделение экрана</a:t>
            </a:r>
            <a:endParaRPr lang="ru-RU" kern="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351608" y="978320"/>
            <a:ext cx="9281392" cy="9048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0000"/>
                </a:solidFill>
                <a:latin typeface="YS Text Optional"/>
              </a:rPr>
              <a:t>Перетягиваем окно к левому или правому краю экрана, чтобы оно заняло его половину. При этом с другой стороны появится миниатюры открытых окон</a:t>
            </a:r>
            <a:r>
              <a:rPr lang="ru-RU" dirty="0" smtClean="0">
                <a:solidFill>
                  <a:srgbClr val="000000"/>
                </a:solidFill>
                <a:latin typeface="YS Text Optional"/>
              </a:rPr>
              <a:t>. </a:t>
            </a:r>
            <a:r>
              <a:rPr lang="ru-RU" dirty="0"/>
              <a:t>Если нажать на одно из них, оно займёт другую половину рабочего стола.</a:t>
            </a:r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276900" y="2496450"/>
            <a:ext cx="8936769" cy="36317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/>
              <a:t>ВАЖНО</a:t>
            </a:r>
            <a:r>
              <a:rPr lang="ru-RU" dirty="0" smtClean="0"/>
              <a:t>! Границы между экранами можно двигать, а сам экран делить на 3-4 част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5030416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Темы и оформление </a:t>
            </a:r>
            <a:r>
              <a:rPr lang="en-US" dirty="0" smtClean="0"/>
              <a:t>windows</a:t>
            </a:r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276900" y="793654"/>
            <a:ext cx="689092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b="1" dirty="0" err="1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Win</a:t>
            </a:r>
            <a:r>
              <a:rPr lang="ru-RU" sz="1800" b="1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 </a:t>
            </a:r>
            <a:r>
              <a:rPr lang="ru-RU" sz="18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+ </a:t>
            </a:r>
            <a:r>
              <a:rPr lang="ru-RU" sz="1800" b="1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I </a:t>
            </a:r>
            <a:r>
              <a:rPr lang="ru-RU" sz="1800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– запустит параметры </a:t>
            </a:r>
            <a:r>
              <a:rPr lang="en-US" sz="1800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Windows (</a:t>
            </a:r>
            <a:r>
              <a:rPr lang="ru-RU" sz="1800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не путать с </a:t>
            </a:r>
            <a:r>
              <a:rPr lang="en-US" sz="1800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Win + L!!!!)</a:t>
            </a:r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276900" y="1211081"/>
            <a:ext cx="9198026" cy="11757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В открывшемся окне приложения «Параметры </a:t>
            </a:r>
            <a:r>
              <a:rPr lang="ru-RU" dirty="0" err="1"/>
              <a:t>Windows</a:t>
            </a:r>
            <a:r>
              <a:rPr lang="ru-RU" dirty="0"/>
              <a:t>» выберите категорию </a:t>
            </a:r>
            <a:r>
              <a:rPr lang="ru-RU" b="1" dirty="0"/>
              <a:t>Персонализация</a:t>
            </a:r>
            <a:endParaRPr lang="ru-RU" dirty="0"/>
          </a:p>
          <a:p>
            <a:r>
              <a:rPr lang="ru-RU" dirty="0"/>
              <a:t>Далее, перейдите на вкладку </a:t>
            </a:r>
            <a:r>
              <a:rPr lang="ru-RU" b="1" dirty="0"/>
              <a:t>Цвета</a:t>
            </a:r>
            <a:r>
              <a:rPr lang="ru-RU" dirty="0"/>
              <a:t> и в правой части окна в разделе </a:t>
            </a:r>
            <a:r>
              <a:rPr lang="ru-RU" b="1" dirty="0"/>
              <a:t>Выберите режим приложения</a:t>
            </a:r>
            <a:r>
              <a:rPr lang="ru-RU" dirty="0"/>
              <a:t> установите переключатель (радио кнопку) в положение </a:t>
            </a:r>
            <a:r>
              <a:rPr lang="ru-RU" b="1" dirty="0" smtClean="0"/>
              <a:t>Темный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6900" y="2617366"/>
            <a:ext cx="6595886" cy="1214405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276900" y="3971108"/>
            <a:ext cx="2778196" cy="36106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07000"/>
              </a:lnSpc>
              <a:spcBef>
                <a:spcPts val="200"/>
              </a:spcBef>
              <a:spcAft>
                <a:spcPts val="0"/>
              </a:spcAft>
            </a:pPr>
            <a:r>
              <a:rPr lang="ru-RU" dirty="0"/>
              <a:t>Смена основного экрана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76900" y="4471506"/>
            <a:ext cx="8867100" cy="11757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err="1" smtClean="0"/>
              <a:t>Windows</a:t>
            </a:r>
            <a:r>
              <a:rPr lang="ru-RU" dirty="0"/>
              <a:t> </a:t>
            </a:r>
            <a:r>
              <a:rPr lang="ru-RU" b="1" dirty="0"/>
              <a:t>10</a:t>
            </a:r>
            <a:r>
              <a:rPr lang="ru-RU" dirty="0"/>
              <a:t> так устроен, что он самостоятельно подключит монитор в нужном разрешении. Если Вы хотите </a:t>
            </a:r>
            <a:r>
              <a:rPr lang="ru-RU" b="1" dirty="0"/>
              <a:t>изменить</a:t>
            </a:r>
            <a:r>
              <a:rPr lang="ru-RU" dirty="0"/>
              <a:t> его вручную, то нужно сделать следующее: 1. На рабочем столе нажимаем правую кнопку мыши и выбираем "Параметры экрана</a:t>
            </a:r>
            <a:r>
              <a:rPr lang="ru-RU" dirty="0" smtClean="0"/>
              <a:t>"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48616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Технические данные компьютера</a:t>
            </a:r>
            <a:endParaRPr lang="ru-RU" dirty="0"/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6900" y="978320"/>
            <a:ext cx="7681640" cy="4430405"/>
          </a:xfrm>
          <a:prstGeom prst="rect">
            <a:avLst/>
          </a:prstGeom>
        </p:spPr>
      </p:pic>
      <p:sp>
        <p:nvSpPr>
          <p:cNvPr id="4" name="Стрелка вправо 3"/>
          <p:cNvSpPr/>
          <p:nvPr/>
        </p:nvSpPr>
        <p:spPr bwMode="auto">
          <a:xfrm flipH="1">
            <a:off x="4293326" y="1123406"/>
            <a:ext cx="1010194" cy="357051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Стрелка вправо 4"/>
          <p:cNvSpPr/>
          <p:nvPr/>
        </p:nvSpPr>
        <p:spPr bwMode="auto">
          <a:xfrm flipH="1">
            <a:off x="5303520" y="2569029"/>
            <a:ext cx="1184365" cy="426720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Стрелка вправо 5"/>
          <p:cNvSpPr/>
          <p:nvPr/>
        </p:nvSpPr>
        <p:spPr bwMode="auto">
          <a:xfrm flipH="1">
            <a:off x="4702081" y="3369380"/>
            <a:ext cx="1515291" cy="426720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923109" y="1123406"/>
            <a:ext cx="3196045" cy="357051"/>
          </a:xfrm>
          <a:prstGeom prst="rect">
            <a:avLst/>
          </a:prstGeom>
          <a:noFill/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1846217" y="2569029"/>
            <a:ext cx="3196046" cy="435428"/>
          </a:xfrm>
          <a:prstGeom prst="rect">
            <a:avLst/>
          </a:prstGeom>
          <a:noFill/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1724297" y="3304066"/>
            <a:ext cx="2751908" cy="557348"/>
          </a:xfrm>
          <a:prstGeom prst="rect">
            <a:avLst/>
          </a:prstGeom>
          <a:noFill/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614637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5</a:t>
            </a:fld>
            <a:endParaRPr lang="ru-RU" dirty="0"/>
          </a:p>
        </p:txBody>
      </p:sp>
      <p:sp>
        <p:nvSpPr>
          <p:cNvPr id="3" name="Заголовок 1"/>
          <p:cNvSpPr txBox="1">
            <a:spLocks/>
          </p:cNvSpPr>
          <p:nvPr/>
        </p:nvSpPr>
        <p:spPr>
          <a:xfrm>
            <a:off x="276900" y="272720"/>
            <a:ext cx="9356100" cy="705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4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/>
              <a:t>Поиск, работа с проводником</a:t>
            </a:r>
            <a:endParaRPr lang="ru-RU" kern="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276900" y="978320"/>
            <a:ext cx="4953000" cy="90486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 smtClean="0"/>
              <a:t>Открыть </a:t>
            </a:r>
            <a:r>
              <a:rPr lang="ru-RU" dirty="0"/>
              <a:t>проводник возможно если кликните «мышкой» на соответствующей иконке. А также с помощью горячих клавиш </a:t>
            </a:r>
            <a:r>
              <a:rPr lang="ru-RU" b="1" dirty="0" err="1" smtClean="0"/>
              <a:t>Win</a:t>
            </a:r>
            <a:r>
              <a:rPr lang="ru-RU" b="1" dirty="0" smtClean="0"/>
              <a:t> </a:t>
            </a:r>
            <a:r>
              <a:rPr lang="ru-RU" b="1" dirty="0"/>
              <a:t>+ E.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276900" y="2035165"/>
            <a:ext cx="4953000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В проводнике </a:t>
            </a:r>
            <a:r>
              <a:rPr lang="ru-RU" dirty="0" smtClean="0"/>
              <a:t>теперь есть </a:t>
            </a:r>
            <a:r>
              <a:rPr lang="ru-RU" dirty="0"/>
              <a:t>«Панель быстрого доступа». Здесь отображаются все элементы, которые вы недавно использовали и чтобы быстро к ним вернуться.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276900" y="3633697"/>
            <a:ext cx="4953000" cy="225908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 smtClean="0"/>
              <a:t>Когда </a:t>
            </a:r>
            <a:r>
              <a:rPr lang="ru-RU" dirty="0"/>
              <a:t>вы открываете проводник эта панель вас встречает по умолчанию, хотя, конечно, можно сделать так, чтобы открывались диски. Для этого войдите в раздел «Вид» кликните на «Параметры». В открывшемся окне, напротив строки «открыть проводник для:» нужно выбрать «Этот компьютер» и нажать ОК.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86614" y="978320"/>
            <a:ext cx="3648075" cy="5238750"/>
          </a:xfrm>
          <a:prstGeom prst="rect">
            <a:avLst/>
          </a:prstGeom>
        </p:spPr>
      </p:pic>
      <p:sp>
        <p:nvSpPr>
          <p:cNvPr id="11" name="Прямоугольник 10"/>
          <p:cNvSpPr/>
          <p:nvPr/>
        </p:nvSpPr>
        <p:spPr bwMode="auto">
          <a:xfrm>
            <a:off x="5834743" y="1523613"/>
            <a:ext cx="3257006" cy="359570"/>
          </a:xfrm>
          <a:prstGeom prst="rect">
            <a:avLst/>
          </a:prstGeom>
          <a:noFill/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6252754" y="4841966"/>
            <a:ext cx="2760617" cy="365760"/>
          </a:xfrm>
          <a:prstGeom prst="rect">
            <a:avLst/>
          </a:prstGeom>
          <a:noFill/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497585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6</a:t>
            </a:fld>
            <a:endParaRPr lang="ru-RU" dirty="0"/>
          </a:p>
        </p:txBody>
      </p:sp>
      <p:sp>
        <p:nvSpPr>
          <p:cNvPr id="3" name="Заголовок 1"/>
          <p:cNvSpPr txBox="1">
            <a:spLocks/>
          </p:cNvSpPr>
          <p:nvPr/>
        </p:nvSpPr>
        <p:spPr>
          <a:xfrm>
            <a:off x="276900" y="272720"/>
            <a:ext cx="9356100" cy="705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4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/>
              <a:t>Поиск, работа с проводником</a:t>
            </a:r>
            <a:endParaRPr lang="ru-RU" kern="0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276900" y="978320"/>
            <a:ext cx="4953000" cy="1175706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 smtClean="0"/>
              <a:t>Теперь </a:t>
            </a:r>
            <a:r>
              <a:rPr lang="ru-RU" dirty="0"/>
              <a:t>в проводнике помимо обычного поиска появился расширенный. Если вы кликнете в строке поиска, то в проводнике откроется раздел «Средства поиска».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5147212" y="3479019"/>
            <a:ext cx="4485788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В списке файлов в виде таблицы можно использовать еще один способ поиска. Нажмите на стрелку возле заголовка столбца и увидите фильтры для поиска. Например, в столбце даты изменения откроется диапазоны поиска по датам</a:t>
            </a:r>
            <a:endParaRPr lang="ru-RU" dirty="0"/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35421" y="637236"/>
            <a:ext cx="1992058" cy="2391897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sp>
        <p:nvSpPr>
          <p:cNvPr id="12" name="Стрелка вправо 11"/>
          <p:cNvSpPr/>
          <p:nvPr/>
        </p:nvSpPr>
        <p:spPr bwMode="auto">
          <a:xfrm>
            <a:off x="4954950" y="1428206"/>
            <a:ext cx="984296" cy="404978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1791" y="3029133"/>
            <a:ext cx="3743325" cy="2590800"/>
          </a:xfrm>
          <a:prstGeom prst="rect">
            <a:avLst/>
          </a:prstGeom>
        </p:spPr>
      </p:pic>
      <p:sp>
        <p:nvSpPr>
          <p:cNvPr id="14" name="Стрелка вправо 13"/>
          <p:cNvSpPr/>
          <p:nvPr/>
        </p:nvSpPr>
        <p:spPr bwMode="auto">
          <a:xfrm flipH="1">
            <a:off x="4127636" y="4081862"/>
            <a:ext cx="827314" cy="548640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1524000" y="3117669"/>
            <a:ext cx="217714" cy="269965"/>
          </a:xfrm>
          <a:prstGeom prst="rect">
            <a:avLst/>
          </a:prstGeom>
          <a:noFill/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33231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7</a:t>
            </a:fld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276900" y="978320"/>
            <a:ext cx="4953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800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Можно искать </a:t>
            </a:r>
            <a:r>
              <a:rPr lang="ru-RU" sz="1800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по группам, нажав на кнопку группировать во вкладке </a:t>
            </a:r>
            <a:r>
              <a:rPr lang="ru-RU" sz="1800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«</a:t>
            </a:r>
            <a:r>
              <a:rPr lang="ru-RU" b="1" dirty="0" smtClean="0"/>
              <a:t>Тип</a:t>
            </a:r>
            <a:r>
              <a:rPr lang="ru-RU" dirty="0" smtClean="0"/>
              <a:t>». </a:t>
            </a:r>
            <a:endParaRPr lang="ru-RU" dirty="0"/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276900" y="272720"/>
            <a:ext cx="9356100" cy="705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4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/>
              <a:t>Поиск, работа с проводником</a:t>
            </a:r>
            <a:endParaRPr lang="ru-RU" kern="0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40265" y="845003"/>
            <a:ext cx="2507454" cy="5111659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6" name="Стрелка вправо 5"/>
          <p:cNvSpPr/>
          <p:nvPr/>
        </p:nvSpPr>
        <p:spPr bwMode="auto">
          <a:xfrm>
            <a:off x="5229900" y="1122959"/>
            <a:ext cx="1179609" cy="357052"/>
          </a:xfrm>
          <a:prstGeom prst="right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76900" y="1933716"/>
            <a:ext cx="6052457" cy="9048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А можно </a:t>
            </a:r>
            <a:r>
              <a:rPr lang="ru-RU" dirty="0"/>
              <a:t>и </a:t>
            </a:r>
            <a:r>
              <a:rPr lang="ru-RU" dirty="0" smtClean="0"/>
              <a:t>отсортировать </a:t>
            </a:r>
            <a:r>
              <a:rPr lang="ru-RU" dirty="0"/>
              <a:t>по группам, нажав на кнопку группировать во вкладке «Вид». Каждая группа будет иметь свое название, что </a:t>
            </a:r>
            <a:r>
              <a:rPr lang="ru-RU" dirty="0" smtClean="0"/>
              <a:t>очень удобно</a:t>
            </a:r>
            <a:endParaRPr lang="ru-RU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08726" y="3504790"/>
            <a:ext cx="3899713" cy="2451872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sp>
        <p:nvSpPr>
          <p:cNvPr id="9" name="Стрелка вниз 8"/>
          <p:cNvSpPr/>
          <p:nvPr/>
        </p:nvSpPr>
        <p:spPr bwMode="auto">
          <a:xfrm>
            <a:off x="3285156" y="2894744"/>
            <a:ext cx="346851" cy="486612"/>
          </a:xfrm>
          <a:prstGeom prst="down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1508726" y="3614057"/>
            <a:ext cx="372325" cy="235132"/>
          </a:xfrm>
          <a:prstGeom prst="rect">
            <a:avLst/>
          </a:prstGeom>
          <a:noFill/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Прямоугольник 10"/>
          <p:cNvSpPr/>
          <p:nvPr/>
        </p:nvSpPr>
        <p:spPr bwMode="auto">
          <a:xfrm>
            <a:off x="4099526" y="3779520"/>
            <a:ext cx="385388" cy="280190"/>
          </a:xfrm>
          <a:prstGeom prst="rect">
            <a:avLst/>
          </a:prstGeom>
          <a:noFill/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Прямоугольник 11"/>
          <p:cNvSpPr/>
          <p:nvPr/>
        </p:nvSpPr>
        <p:spPr bwMode="auto">
          <a:xfrm>
            <a:off x="4360783" y="4334439"/>
            <a:ext cx="341845" cy="228851"/>
          </a:xfrm>
          <a:prstGeom prst="rect">
            <a:avLst/>
          </a:prstGeom>
          <a:noFill/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444039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8</a:t>
            </a:fld>
            <a:endParaRPr lang="ru-RU" dirty="0"/>
          </a:p>
        </p:txBody>
      </p:sp>
      <p:sp>
        <p:nvSpPr>
          <p:cNvPr id="3" name="Заголовок 1"/>
          <p:cNvSpPr txBox="1">
            <a:spLocks/>
          </p:cNvSpPr>
          <p:nvPr/>
        </p:nvSpPr>
        <p:spPr>
          <a:xfrm>
            <a:off x="276900" y="272720"/>
            <a:ext cx="9356100" cy="705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4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/>
              <a:t>Поиск, работа с проводником</a:t>
            </a:r>
            <a:endParaRPr lang="ru-RU" kern="0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7893" y="1123405"/>
            <a:ext cx="8111633" cy="2400605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 bwMode="auto">
          <a:xfrm>
            <a:off x="1937656" y="1345472"/>
            <a:ext cx="988423" cy="293913"/>
          </a:xfrm>
          <a:prstGeom prst="rect">
            <a:avLst/>
          </a:prstGeom>
          <a:noFill/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1254035" y="1719347"/>
            <a:ext cx="879565" cy="745179"/>
          </a:xfrm>
          <a:prstGeom prst="rect">
            <a:avLst/>
          </a:prstGeom>
          <a:noFill/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470807" y="4084525"/>
            <a:ext cx="5416187" cy="11757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На вкладке </a:t>
            </a:r>
            <a:r>
              <a:rPr lang="ru-RU" b="1" dirty="0" smtClean="0"/>
              <a:t>поделиться </a:t>
            </a:r>
            <a:r>
              <a:rPr lang="ru-RU" dirty="0" smtClean="0"/>
              <a:t>тоже есть полезные элементы. Первая кнопка в </a:t>
            </a:r>
            <a:r>
              <a:rPr lang="ru-RU" dirty="0" err="1" smtClean="0"/>
              <a:t>корп</a:t>
            </a:r>
            <a:r>
              <a:rPr lang="ru-RU" dirty="0" smtClean="0"/>
              <a:t> версии не работает, а вот по второй можно направить файл в виде вложения по эл. почте в одно касани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309297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9</a:t>
            </a:fld>
            <a:endParaRPr lang="ru-RU" dirty="0"/>
          </a:p>
        </p:txBody>
      </p:sp>
      <p:sp>
        <p:nvSpPr>
          <p:cNvPr id="3" name="Заголовок 1"/>
          <p:cNvSpPr txBox="1">
            <a:spLocks/>
          </p:cNvSpPr>
          <p:nvPr/>
        </p:nvSpPr>
        <p:spPr>
          <a:xfrm>
            <a:off x="276900" y="272720"/>
            <a:ext cx="9356100" cy="705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4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dirty="0"/>
              <a:t>Как делать скриншоты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374467" y="978320"/>
            <a:ext cx="4528459" cy="19882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Print Scre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Ножниц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b="1" dirty="0" err="1" smtClean="0"/>
              <a:t>Win+W</a:t>
            </a:r>
            <a:r>
              <a:rPr lang="ru-RU" b="1" dirty="0" smtClean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b="1" dirty="0" err="1" smtClean="0"/>
              <a:t>Win+Shift+S</a:t>
            </a:r>
            <a:r>
              <a:rPr lang="ru-RU" b="1" dirty="0" smtClean="0"/>
              <a:t> </a:t>
            </a:r>
            <a:r>
              <a:rPr lang="ru-RU" dirty="0" smtClean="0"/>
              <a:t>(сохраняет в буфер, можно посмотреть, нажав </a:t>
            </a:r>
            <a:r>
              <a:rPr lang="en-US" b="1" dirty="0" err="1" smtClean="0"/>
              <a:t>Win+V</a:t>
            </a:r>
            <a:r>
              <a:rPr lang="en-US" dirty="0" smtClean="0"/>
              <a:t>)</a:t>
            </a:r>
            <a:endParaRPr lang="ru-RU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фрагмент и набросок</a:t>
            </a:r>
            <a:endParaRPr lang="ru-RU" b="1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08472" y="978320"/>
            <a:ext cx="2605801" cy="4229916"/>
          </a:xfrm>
          <a:prstGeom prst="rect">
            <a:avLst/>
          </a:prstGeom>
        </p:spPr>
      </p:pic>
      <p:cxnSp>
        <p:nvCxnSpPr>
          <p:cNvPr id="9" name="Соединительная линия уступом 8"/>
          <p:cNvCxnSpPr/>
          <p:nvPr/>
        </p:nvCxnSpPr>
        <p:spPr bwMode="auto">
          <a:xfrm>
            <a:off x="1854926" y="1663337"/>
            <a:ext cx="4153546" cy="1950720"/>
          </a:xfrm>
          <a:prstGeom prst="bentConnector3">
            <a:avLst>
              <a:gd name="adj1" fmla="val 87950"/>
            </a:avLst>
          </a:prstGeom>
          <a:solidFill>
            <a:schemeClr val="accent1"/>
          </a:solidFill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2" name="Рисунок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4467" y="2932369"/>
            <a:ext cx="4682626" cy="681688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276900" y="4392400"/>
            <a:ext cx="5033555" cy="11757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Есть линейка (меняем наклон колесиком) и транспортир, который показывает угол!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Больше цветов для работы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Больше возможностей</a:t>
            </a:r>
            <a:endParaRPr lang="ru-RU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4" name="Стрелка вниз 13"/>
          <p:cNvSpPr/>
          <p:nvPr/>
        </p:nvSpPr>
        <p:spPr bwMode="auto">
          <a:xfrm>
            <a:off x="2403565" y="3744686"/>
            <a:ext cx="470262" cy="647714"/>
          </a:xfrm>
          <a:prstGeom prst="down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73527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/>
          <a:srcRect t="5794"/>
          <a:stretch/>
        </p:blipFill>
        <p:spPr>
          <a:xfrm>
            <a:off x="0" y="1052735"/>
            <a:ext cx="9906000" cy="5256585"/>
          </a:xfrm>
          <a:prstGeom prst="rect">
            <a:avLst/>
          </a:prstGeom>
        </p:spPr>
      </p:pic>
      <p:sp>
        <p:nvSpPr>
          <p:cNvPr id="6" name="Заголовок 5"/>
          <p:cNvSpPr>
            <a:spLocks noGrp="1"/>
          </p:cNvSpPr>
          <p:nvPr>
            <p:ph type="ctrTitle"/>
          </p:nvPr>
        </p:nvSpPr>
        <p:spPr>
          <a:xfrm>
            <a:off x="1238250" y="0"/>
            <a:ext cx="7429500" cy="1052513"/>
          </a:xfrm>
        </p:spPr>
        <p:txBody>
          <a:bodyPr anchor="ctr">
            <a:normAutofit/>
          </a:bodyPr>
          <a:lstStyle/>
          <a:p>
            <a:r>
              <a:rPr lang="ru-RU" sz="3600" dirty="0" smtClean="0"/>
              <a:t>КОНТАКТ ПО БЕЗОПАСНОСТИ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sz="2200" dirty="0" smtClean="0">
                <a:solidFill>
                  <a:srgbClr val="008C8C"/>
                </a:solidFill>
              </a:rPr>
              <a:t>В БЕЗОПАСНОСТИ НЕТ МЕЛОЧЕЙ</a:t>
            </a:r>
            <a:endParaRPr lang="ru-RU" sz="2200" dirty="0">
              <a:solidFill>
                <a:srgbClr val="008C8C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Знакомство с </a:t>
            </a:r>
            <a:r>
              <a:rPr lang="en-US" dirty="0"/>
              <a:t>Windows 10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1F8F668-C657-B34D-9FD9-A50672C6C47C}" type="slidenum">
              <a:rPr lang="ru-RU" altLang="en-US" smtClean="0"/>
              <a:pPr>
                <a:defRPr/>
              </a:pPr>
              <a:t>2</a:t>
            </a:fld>
            <a:endParaRPr lang="ru-RU" altLang="en-US" dirty="0"/>
          </a:p>
        </p:txBody>
      </p:sp>
    </p:spTree>
    <p:extLst>
      <p:ext uri="{BB962C8B-B14F-4D97-AF65-F5344CB8AC3E}">
        <p14:creationId xmlns:p14="http://schemas.microsoft.com/office/powerpoint/2010/main" val="411003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0</a:t>
            </a:fld>
            <a:endParaRPr lang="ru-RU" dirty="0"/>
          </a:p>
        </p:txBody>
      </p:sp>
      <p:sp>
        <p:nvSpPr>
          <p:cNvPr id="3" name="Заголовок 1"/>
          <p:cNvSpPr txBox="1">
            <a:spLocks/>
          </p:cNvSpPr>
          <p:nvPr/>
        </p:nvSpPr>
        <p:spPr>
          <a:xfrm>
            <a:off x="276900" y="272720"/>
            <a:ext cx="9356100" cy="705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4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dirty="0"/>
              <a:t>Как переключать язык? 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76900" y="978320"/>
            <a:ext cx="9356100" cy="52322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450"/>
              </a:spcBef>
              <a:spcAft>
                <a:spcPts val="1500"/>
              </a:spcAft>
            </a:pPr>
            <a:r>
              <a:rPr lang="ru-RU" sz="18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Для смены сочетания клавиш для смены языка, необходимо выполнить следующие действия:</a:t>
            </a:r>
            <a:endParaRPr lang="ru-RU" sz="16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spcBef>
                <a:spcPts val="450"/>
              </a:spcBef>
              <a:spcAft>
                <a:spcPts val="1500"/>
              </a:spcAft>
              <a:buFont typeface="+mj-lt"/>
              <a:buAutoNum type="arabicPeriod"/>
            </a:pPr>
            <a:r>
              <a:rPr lang="ru-RU" sz="18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Необходимо перейти в «Параметры </a:t>
            </a:r>
            <a:r>
              <a:rPr lang="ru-RU" sz="1800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Windows</a:t>
            </a:r>
            <a:r>
              <a:rPr lang="ru-RU" sz="18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», сделать это можно используя сочетание клавиш </a:t>
            </a:r>
            <a:r>
              <a:rPr lang="ru-RU" sz="1800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Win</a:t>
            </a:r>
            <a:r>
              <a:rPr lang="ru-RU" sz="18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+ I, либо воспользоваться поиском, набрав слово «параметры»</a:t>
            </a:r>
            <a:endParaRPr lang="ru-RU" sz="16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spcBef>
                <a:spcPts val="450"/>
              </a:spcBef>
              <a:spcAft>
                <a:spcPts val="1500"/>
              </a:spcAft>
              <a:buFont typeface="+mj-lt"/>
              <a:buAutoNum type="arabicPeriod"/>
            </a:pPr>
            <a:r>
              <a:rPr lang="ru-RU" sz="18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В окне «Параметры </a:t>
            </a:r>
            <a:r>
              <a:rPr lang="ru-RU" sz="1800" dirty="0" err="1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Windows</a:t>
            </a:r>
            <a:r>
              <a:rPr lang="ru-RU" sz="18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» переходим в пункт меню «Устройства»</a:t>
            </a:r>
            <a:endParaRPr lang="ru-RU" sz="16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spcBef>
                <a:spcPts val="450"/>
              </a:spcBef>
              <a:spcAft>
                <a:spcPts val="1500"/>
              </a:spcAft>
              <a:buFont typeface="+mj-lt"/>
              <a:buAutoNum type="arabicPeriod"/>
            </a:pPr>
            <a:r>
              <a:rPr lang="ru-RU" sz="18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Далее выбираем пункт меню «Ввод» и пролистываем информацию по настройкам вниз и переходим в меню «Дополнительные параметры клавиатуры»</a:t>
            </a:r>
            <a:endParaRPr lang="ru-RU" sz="16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spcBef>
                <a:spcPts val="450"/>
              </a:spcBef>
              <a:spcAft>
                <a:spcPts val="1500"/>
              </a:spcAft>
              <a:buFont typeface="+mj-lt"/>
              <a:buAutoNum type="arabicPeriod"/>
            </a:pPr>
            <a:r>
              <a:rPr lang="ru-RU" sz="18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Следующий переход осуществляем в «Параметры языковой панели»</a:t>
            </a:r>
            <a:endParaRPr lang="ru-RU" sz="16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spcBef>
                <a:spcPts val="450"/>
              </a:spcBef>
              <a:spcAft>
                <a:spcPts val="1500"/>
              </a:spcAft>
              <a:buFont typeface="+mj-lt"/>
              <a:buAutoNum type="arabicPeriod"/>
            </a:pPr>
            <a:r>
              <a:rPr lang="ru-RU" sz="18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В открытом окне «Языки и службы текстового ввода» необходимо выбрать вкладку «Переключение клавиатуры» и нажать в этой вкладке кнопку «Сменить сочетание клавиш…»</a:t>
            </a:r>
            <a:endParaRPr lang="ru-RU" sz="16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342900" lvl="0" indent="-342900">
              <a:spcBef>
                <a:spcPts val="450"/>
              </a:spcBef>
              <a:spcAft>
                <a:spcPts val="1500"/>
              </a:spcAft>
              <a:buFont typeface="+mj-lt"/>
              <a:buAutoNum type="arabicPeriod"/>
            </a:pPr>
            <a:r>
              <a:rPr lang="ru-RU" sz="18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Выбираем необходимое сочетание клавиш, для переключения языка ввода</a:t>
            </a:r>
            <a:endParaRPr lang="ru-RU" sz="16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884160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1</a:t>
            </a:fld>
            <a:endParaRPr lang="ru-RU" dirty="0"/>
          </a:p>
        </p:txBody>
      </p:sp>
      <p:sp>
        <p:nvSpPr>
          <p:cNvPr id="3" name="Заголовок 1"/>
          <p:cNvSpPr txBox="1">
            <a:spLocks/>
          </p:cNvSpPr>
          <p:nvPr/>
        </p:nvSpPr>
        <p:spPr>
          <a:xfrm>
            <a:off x="276900" y="272720"/>
            <a:ext cx="9356100" cy="705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4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dirty="0"/>
              <a:t>Как переключать язык?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379490" y="2678277"/>
            <a:ext cx="515092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Win+</a:t>
            </a:r>
            <a:r>
              <a:rPr lang="ru-RU" sz="2400" b="1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пробел </a:t>
            </a:r>
            <a:r>
              <a:rPr lang="ru-RU" sz="2400" b="1" dirty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– </a:t>
            </a:r>
            <a:r>
              <a:rPr lang="ru-RU" sz="2400" b="1" dirty="0" smtClean="0">
                <a:solidFill>
                  <a:srgbClr val="000000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универсальный вариант сменить раскладку вне зависимости от индивидуальных настроек</a:t>
            </a: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122992842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2</a:t>
            </a:fld>
            <a:endParaRPr lang="ru-RU" dirty="0"/>
          </a:p>
        </p:txBody>
      </p:sp>
      <p:sp>
        <p:nvSpPr>
          <p:cNvPr id="3" name="Заголовок 1"/>
          <p:cNvSpPr txBox="1">
            <a:spLocks/>
          </p:cNvSpPr>
          <p:nvPr/>
        </p:nvSpPr>
        <p:spPr>
          <a:xfrm>
            <a:off x="276900" y="272720"/>
            <a:ext cx="9356100" cy="705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4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dirty="0"/>
              <a:t>Защита файлов от изменения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6900" y="1007498"/>
            <a:ext cx="2034655" cy="2748949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37595" y="978320"/>
            <a:ext cx="4297094" cy="1573291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24506" y="3257211"/>
            <a:ext cx="3010183" cy="3019816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2455817" y="978320"/>
            <a:ext cx="2002971" cy="904863"/>
          </a:xfrm>
          <a:prstGeom prst="rect">
            <a:avLst/>
          </a:prstGeom>
          <a:noFill/>
          <a:ln w="38100"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r>
              <a:rPr lang="ru-RU" dirty="0" smtClean="0"/>
              <a:t>Правой кнопкой мыши кликнуть, свойства</a:t>
            </a:r>
            <a:endParaRPr lang="ru-RU" dirty="0"/>
          </a:p>
        </p:txBody>
      </p:sp>
      <p:cxnSp>
        <p:nvCxnSpPr>
          <p:cNvPr id="10" name="Соединительная линия уступом 9"/>
          <p:cNvCxnSpPr/>
          <p:nvPr/>
        </p:nvCxnSpPr>
        <p:spPr bwMode="auto">
          <a:xfrm rot="10800000" flipV="1">
            <a:off x="1210492" y="1883182"/>
            <a:ext cx="1741717" cy="1282147"/>
          </a:xfrm>
          <a:prstGeom prst="bentConnector3">
            <a:avLst/>
          </a:prstGeom>
          <a:solidFill>
            <a:schemeClr val="accent1"/>
          </a:solidFill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Прямоугольник 10"/>
          <p:cNvSpPr/>
          <p:nvPr/>
        </p:nvSpPr>
        <p:spPr bwMode="auto">
          <a:xfrm>
            <a:off x="379827" y="2943714"/>
            <a:ext cx="830664" cy="322206"/>
          </a:xfrm>
          <a:prstGeom prst="rect">
            <a:avLst/>
          </a:prstGeom>
          <a:noFill/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2563162" y="2852449"/>
            <a:ext cx="2645276" cy="363176"/>
          </a:xfrm>
          <a:prstGeom prst="rect">
            <a:avLst/>
          </a:prstGeom>
          <a:noFill/>
          <a:ln w="38100">
            <a:solidFill>
              <a:schemeClr val="accent1">
                <a:lumMod val="75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ru-RU" dirty="0" smtClean="0"/>
              <a:t>При сохранении файла</a:t>
            </a:r>
            <a:endParaRPr lang="ru-RU" dirty="0"/>
          </a:p>
        </p:txBody>
      </p:sp>
      <p:cxnSp>
        <p:nvCxnSpPr>
          <p:cNvPr id="15" name="Соединительная линия уступом 14"/>
          <p:cNvCxnSpPr>
            <a:stCxn id="13" idx="3"/>
          </p:cNvCxnSpPr>
          <p:nvPr/>
        </p:nvCxnSpPr>
        <p:spPr bwMode="auto">
          <a:xfrm flipV="1">
            <a:off x="5208438" y="1764965"/>
            <a:ext cx="3177916" cy="1269072"/>
          </a:xfrm>
          <a:prstGeom prst="bentConnector3">
            <a:avLst>
              <a:gd name="adj1" fmla="val 99874"/>
            </a:avLst>
          </a:prstGeom>
          <a:solidFill>
            <a:schemeClr val="accent1"/>
          </a:solidFill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Соединительная линия уступом 28"/>
          <p:cNvCxnSpPr/>
          <p:nvPr/>
        </p:nvCxnSpPr>
        <p:spPr bwMode="auto">
          <a:xfrm rot="10800000">
            <a:off x="6017626" y="1430752"/>
            <a:ext cx="1933301" cy="253169"/>
          </a:xfrm>
          <a:prstGeom prst="bentConnector3">
            <a:avLst/>
          </a:prstGeom>
          <a:solidFill>
            <a:schemeClr val="accent1"/>
          </a:solidFill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1" name="TextBox 30"/>
          <p:cNvSpPr txBox="1"/>
          <p:nvPr/>
        </p:nvSpPr>
        <p:spPr>
          <a:xfrm>
            <a:off x="2357374" y="4726578"/>
            <a:ext cx="2680221" cy="363176"/>
          </a:xfrm>
          <a:prstGeom prst="rect">
            <a:avLst/>
          </a:prstGeom>
          <a:noFill/>
          <a:ln w="38100">
            <a:solidFill>
              <a:schemeClr val="accent1">
                <a:lumMod val="75000"/>
              </a:schemeClr>
            </a:solidFill>
          </a:ln>
        </p:spPr>
        <p:txBody>
          <a:bodyPr wrap="none" rtlCol="0">
            <a:spAutoFit/>
          </a:bodyPr>
          <a:lstStyle/>
          <a:p>
            <a:r>
              <a:rPr lang="ru-RU" dirty="0" smtClean="0"/>
              <a:t>При сохранении архива</a:t>
            </a:r>
            <a:endParaRPr lang="ru-RU" dirty="0"/>
          </a:p>
        </p:txBody>
      </p:sp>
      <p:cxnSp>
        <p:nvCxnSpPr>
          <p:cNvPr id="33" name="Соединительная линия уступом 32"/>
          <p:cNvCxnSpPr>
            <a:stCxn id="31" idx="3"/>
          </p:cNvCxnSpPr>
          <p:nvPr/>
        </p:nvCxnSpPr>
        <p:spPr bwMode="auto">
          <a:xfrm flipV="1">
            <a:off x="5037595" y="4624251"/>
            <a:ext cx="2913332" cy="283915"/>
          </a:xfrm>
          <a:prstGeom prst="bentConnector3">
            <a:avLst/>
          </a:prstGeom>
          <a:solidFill>
            <a:schemeClr val="accent1"/>
          </a:solidFill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61654371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3</a:t>
            </a:fld>
            <a:endParaRPr lang="ru-RU" dirty="0"/>
          </a:p>
        </p:txBody>
      </p:sp>
      <p:sp>
        <p:nvSpPr>
          <p:cNvPr id="3" name="Заголовок 1"/>
          <p:cNvSpPr txBox="1">
            <a:spLocks/>
          </p:cNvSpPr>
          <p:nvPr/>
        </p:nvSpPr>
        <p:spPr>
          <a:xfrm>
            <a:off x="276900" y="272720"/>
            <a:ext cx="9356100" cy="705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4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dirty="0"/>
              <a:t>Как настроить частоту </a:t>
            </a:r>
            <a:r>
              <a:rPr lang="ru-RU" dirty="0" err="1" smtClean="0"/>
              <a:t>автосохранения</a:t>
            </a:r>
            <a:r>
              <a:rPr lang="ru-RU" dirty="0" smtClean="0"/>
              <a:t> продуктов </a:t>
            </a:r>
            <a:r>
              <a:rPr lang="en-US" dirty="0" smtClean="0"/>
              <a:t>office</a:t>
            </a:r>
            <a:endParaRPr lang="ru-RU" dirty="0"/>
          </a:p>
        </p:txBody>
      </p:sp>
      <p:pic>
        <p:nvPicPr>
          <p:cNvPr id="5" name="Рисунок 4"/>
          <p:cNvPicPr/>
          <p:nvPr/>
        </p:nvPicPr>
        <p:blipFill>
          <a:blip r:embed="rId2"/>
          <a:stretch>
            <a:fillRect/>
          </a:stretch>
        </p:blipFill>
        <p:spPr>
          <a:xfrm>
            <a:off x="276900" y="978320"/>
            <a:ext cx="7290849" cy="5243488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 bwMode="auto">
          <a:xfrm>
            <a:off x="3509554" y="2046514"/>
            <a:ext cx="896983" cy="269966"/>
          </a:xfrm>
          <a:prstGeom prst="rect">
            <a:avLst/>
          </a:prstGeom>
          <a:noFill/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348342" y="1850571"/>
            <a:ext cx="896983" cy="269966"/>
          </a:xfrm>
          <a:prstGeom prst="rect">
            <a:avLst/>
          </a:prstGeom>
          <a:noFill/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623313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4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276900" y="779153"/>
            <a:ext cx="8577943" cy="57554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1" dirty="0" err="1"/>
              <a:t>Win</a:t>
            </a:r>
            <a:r>
              <a:rPr lang="ru-RU" sz="1600" b="1" dirty="0"/>
              <a:t> + E </a:t>
            </a:r>
            <a:r>
              <a:rPr lang="ru-RU" sz="1600" dirty="0"/>
              <a:t>→ открывает Проводник </a:t>
            </a:r>
            <a:r>
              <a:rPr lang="ru-RU" sz="1600" dirty="0" err="1"/>
              <a:t>Windows</a:t>
            </a:r>
            <a:r>
              <a:rPr lang="ru-RU" sz="1600" dirty="0"/>
              <a:t>, в зависимости от параметров, или «этот компьютер», или «быстрый доступ»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1" dirty="0" err="1"/>
              <a:t>Alt</a:t>
            </a:r>
            <a:r>
              <a:rPr lang="ru-RU" sz="1600" b="1" dirty="0"/>
              <a:t> + </a:t>
            </a:r>
            <a:r>
              <a:rPr lang="ru-RU" sz="1600" b="1" dirty="0" err="1"/>
              <a:t>Tab</a:t>
            </a:r>
            <a:r>
              <a:rPr lang="ru-RU" sz="1600" b="1" dirty="0"/>
              <a:t> </a:t>
            </a:r>
            <a:r>
              <a:rPr lang="ru-RU" sz="1600" dirty="0"/>
              <a:t>→ переключение между активными окнами, многократное нажатие работает по принципу «карусели</a:t>
            </a:r>
            <a:r>
              <a:rPr lang="ru-RU" sz="1600" dirty="0" smtClean="0"/>
              <a:t>»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 smtClean="0"/>
              <a:t>Win + L </a:t>
            </a:r>
            <a:r>
              <a:rPr lang="en-US" sz="1600" dirty="0" smtClean="0"/>
              <a:t>→ </a:t>
            </a:r>
            <a:r>
              <a:rPr lang="ru-RU" sz="1600" dirty="0" smtClean="0"/>
              <a:t>блокировка экрана</a:t>
            </a:r>
            <a:endParaRPr lang="ru-RU" sz="1600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1" dirty="0" err="1"/>
              <a:t>Win</a:t>
            </a:r>
            <a:r>
              <a:rPr lang="ru-RU" sz="1600" b="1" dirty="0"/>
              <a:t> + I </a:t>
            </a:r>
            <a:r>
              <a:rPr lang="ru-RU" sz="1600" dirty="0"/>
              <a:t>→ вызывает окно Параметры в </a:t>
            </a:r>
            <a:r>
              <a:rPr lang="ru-RU" sz="1600" dirty="0" err="1"/>
              <a:t>Windows</a:t>
            </a:r>
            <a:r>
              <a:rPr lang="ru-RU" sz="1600" dirty="0"/>
              <a:t> 10, здесь собраны все настройки системы (альтернатива Панели управления)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1" dirty="0" err="1" smtClean="0"/>
              <a:t>Shift</a:t>
            </a:r>
            <a:r>
              <a:rPr lang="ru-RU" sz="1600" b="1" dirty="0" smtClean="0"/>
              <a:t> </a:t>
            </a:r>
            <a:r>
              <a:rPr lang="ru-RU" sz="1600" b="1" dirty="0"/>
              <a:t>+ </a:t>
            </a:r>
            <a:r>
              <a:rPr lang="ru-RU" sz="1600" b="1" dirty="0" err="1"/>
              <a:t>Del</a:t>
            </a:r>
            <a:r>
              <a:rPr lang="ru-RU" sz="1600" b="1" dirty="0"/>
              <a:t> </a:t>
            </a:r>
            <a:r>
              <a:rPr lang="ru-RU" sz="1600" dirty="0"/>
              <a:t>→ безвозвратно удаляет выделенные объекты/файлы, т. е. Удаляет без помещения их в «Корзину»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1" dirty="0" err="1"/>
              <a:t>Win</a:t>
            </a:r>
            <a:r>
              <a:rPr lang="ru-RU" sz="1600" b="1" dirty="0"/>
              <a:t> + стрелка вниз </a:t>
            </a:r>
            <a:r>
              <a:rPr lang="ru-RU" sz="1600" dirty="0"/>
              <a:t>→ сворачивает активное окно на «Панель задач», может потребоваться нажать дважды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1" dirty="0" err="1"/>
              <a:t>Win</a:t>
            </a:r>
            <a:r>
              <a:rPr lang="ru-RU" sz="1600" b="1" dirty="0"/>
              <a:t> + D </a:t>
            </a:r>
            <a:r>
              <a:rPr lang="ru-RU" sz="1600" dirty="0"/>
              <a:t>→ сворачивает все открытые окна (открывает рабочий стол), повторное нажатие восстанавливает окна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1" dirty="0" err="1"/>
              <a:t>Ctrl</a:t>
            </a:r>
            <a:r>
              <a:rPr lang="ru-RU" sz="1600" b="1" dirty="0"/>
              <a:t> + Z </a:t>
            </a:r>
            <a:r>
              <a:rPr lang="ru-RU" sz="1600" dirty="0"/>
              <a:t>→ отменяет последнее действие (многократное нажатие отменяет все последующие), работает во многих программах;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1" dirty="0" err="1"/>
              <a:t>Ctrl</a:t>
            </a:r>
            <a:r>
              <a:rPr lang="ru-RU" sz="1600" b="1" dirty="0"/>
              <a:t> + </a:t>
            </a:r>
            <a:r>
              <a:rPr lang="ru-RU" sz="1600" b="1" dirty="0" err="1"/>
              <a:t>Shift</a:t>
            </a:r>
            <a:r>
              <a:rPr lang="ru-RU" sz="1600" b="1" dirty="0"/>
              <a:t> + </a:t>
            </a:r>
            <a:r>
              <a:rPr lang="ru-RU" sz="1600" b="1" dirty="0" err="1"/>
              <a:t>Esc</a:t>
            </a:r>
            <a:r>
              <a:rPr lang="ru-RU" sz="1600" b="1" dirty="0"/>
              <a:t> </a:t>
            </a:r>
            <a:r>
              <a:rPr lang="ru-RU" sz="1600" dirty="0"/>
              <a:t>→ вызывает Диспетчер задач </a:t>
            </a:r>
            <a:r>
              <a:rPr lang="ru-RU" sz="1600" dirty="0" err="1"/>
              <a:t>Windows</a:t>
            </a:r>
            <a:r>
              <a:rPr lang="ru-RU" sz="1600" dirty="0"/>
              <a:t>, консоль с текущими показателями производительности и запущенными процессами</a:t>
            </a:r>
            <a:r>
              <a:rPr lang="ru-RU" sz="1600" dirty="0" smtClean="0"/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1" dirty="0" err="1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Win+Ctrl+D</a:t>
            </a: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 </a:t>
            </a:r>
            <a:r>
              <a:rPr lang="ru-RU" sz="16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→ </a:t>
            </a: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создает новый рабочий </a:t>
            </a:r>
            <a:r>
              <a:rPr lang="ru-RU" sz="16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стол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1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Win+Ctrl+F4</a:t>
            </a: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 </a:t>
            </a:r>
            <a:r>
              <a:rPr lang="ru-RU" sz="16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→ </a:t>
            </a: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закрывает текущий рабочий </a:t>
            </a:r>
            <a:r>
              <a:rPr lang="ru-RU" sz="16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стол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1" dirty="0" err="1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Win+Ctrl</a:t>
            </a:r>
            <a:r>
              <a:rPr lang="ru-RU" sz="16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+</a:t>
            </a:r>
            <a:r>
              <a:rPr lang="en-US" sz="16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</a:t>
            </a:r>
            <a:r>
              <a:rPr lang="ru-RU" sz="1600" b="1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стрелка вправо </a:t>
            </a:r>
            <a:r>
              <a:rPr lang="ru-RU" sz="1600" b="1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или </a:t>
            </a:r>
            <a:r>
              <a:rPr lang="ru-RU" sz="1600" b="1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влево</a:t>
            </a:r>
            <a:r>
              <a:rPr lang="ru-RU" sz="1600" dirty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 — открывает предыдущий или последующий рабочий стол</a:t>
            </a:r>
            <a:r>
              <a:rPr lang="ru-RU" sz="1600" dirty="0" smtClean="0">
                <a:solidFill>
                  <a:srgbClr val="000000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b="1" dirty="0" err="1" smtClean="0"/>
              <a:t>Win+W</a:t>
            </a:r>
            <a:r>
              <a:rPr lang="ru-RU" sz="1600" b="1" dirty="0" smtClean="0"/>
              <a:t> </a:t>
            </a:r>
            <a:r>
              <a:rPr lang="ru-RU" sz="1600" dirty="0" smtClean="0"/>
              <a:t>→ заметки, альбом, набросок на экране – </a:t>
            </a:r>
            <a:r>
              <a:rPr lang="en-US" sz="1600" dirty="0" smtClean="0"/>
              <a:t>Windows Ink Workspace</a:t>
            </a:r>
            <a:endParaRPr lang="ru-RU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b="1" dirty="0" err="1" smtClean="0"/>
              <a:t>Win+V</a:t>
            </a:r>
            <a:r>
              <a:rPr lang="en-US" sz="1600" b="1" dirty="0" smtClean="0"/>
              <a:t> </a:t>
            </a:r>
            <a:r>
              <a:rPr lang="ru-RU" sz="1600" b="1" dirty="0" smtClean="0"/>
              <a:t>→</a:t>
            </a:r>
            <a:r>
              <a:rPr lang="ru-RU" sz="1600" dirty="0" smtClean="0"/>
              <a:t> </a:t>
            </a:r>
            <a:r>
              <a:rPr lang="ru-RU" sz="1600" dirty="0" err="1" smtClean="0"/>
              <a:t>буффер</a:t>
            </a:r>
            <a:r>
              <a:rPr lang="ru-RU" sz="1600" dirty="0" smtClean="0"/>
              <a:t> обмена</a:t>
            </a:r>
            <a:endParaRPr lang="ru-RU" sz="1600" b="1" dirty="0"/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276900" y="272720"/>
            <a:ext cx="9356100" cy="705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4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dirty="0" smtClean="0"/>
              <a:t>Топ горячих клавиш </a:t>
            </a:r>
            <a:r>
              <a:rPr lang="ru-RU" dirty="0" err="1" smtClean="0"/>
              <a:t>вебинар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250072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5</a:t>
            </a:fld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1724297" y="2481943"/>
            <a:ext cx="6008913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5400" b="1" dirty="0"/>
              <a:t>СПАСИБО ЗА ВНИМАНИЕ!</a:t>
            </a:r>
            <a:endParaRPr lang="ru-RU" sz="5400" b="1" dirty="0"/>
          </a:p>
        </p:txBody>
      </p:sp>
    </p:spTree>
    <p:extLst>
      <p:ext uri="{BB962C8B-B14F-4D97-AF65-F5344CB8AC3E}">
        <p14:creationId xmlns:p14="http://schemas.microsoft.com/office/powerpoint/2010/main" val="20585003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Группа 22"/>
          <p:cNvGrpSpPr/>
          <p:nvPr/>
        </p:nvGrpSpPr>
        <p:grpSpPr>
          <a:xfrm>
            <a:off x="3480403" y="3353007"/>
            <a:ext cx="2894998" cy="1894722"/>
            <a:chOff x="1318013" y="3326441"/>
            <a:chExt cx="2142041" cy="1894722"/>
          </a:xfrm>
        </p:grpSpPr>
        <p:sp>
          <p:nvSpPr>
            <p:cNvPr id="24" name="Прямоугольник 23"/>
            <p:cNvSpPr/>
            <p:nvPr/>
          </p:nvSpPr>
          <p:spPr>
            <a:xfrm>
              <a:off x="1318013" y="3429001"/>
              <a:ext cx="2142041" cy="179216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5" name="Прямоугольник 24"/>
            <p:cNvSpPr/>
            <p:nvPr/>
          </p:nvSpPr>
          <p:spPr>
            <a:xfrm>
              <a:off x="1449571" y="3326441"/>
              <a:ext cx="1878927" cy="4626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26" name="Группа 25"/>
          <p:cNvGrpSpPr/>
          <p:nvPr/>
        </p:nvGrpSpPr>
        <p:grpSpPr>
          <a:xfrm>
            <a:off x="6959107" y="2682580"/>
            <a:ext cx="2142041" cy="1894722"/>
            <a:chOff x="1318013" y="3326441"/>
            <a:chExt cx="2142041" cy="1894722"/>
          </a:xfrm>
        </p:grpSpPr>
        <p:sp>
          <p:nvSpPr>
            <p:cNvPr id="27" name="Прямоугольник 26"/>
            <p:cNvSpPr/>
            <p:nvPr/>
          </p:nvSpPr>
          <p:spPr>
            <a:xfrm>
              <a:off x="1318013" y="3429001"/>
              <a:ext cx="2142041" cy="179216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1858614" y="3326441"/>
              <a:ext cx="1060839" cy="4626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grpSp>
        <p:nvGrpSpPr>
          <p:cNvPr id="20" name="Группа 19"/>
          <p:cNvGrpSpPr/>
          <p:nvPr/>
        </p:nvGrpSpPr>
        <p:grpSpPr>
          <a:xfrm>
            <a:off x="754655" y="2664245"/>
            <a:ext cx="2142041" cy="1894722"/>
            <a:chOff x="1318013" y="3326441"/>
            <a:chExt cx="2142041" cy="1894722"/>
          </a:xfrm>
        </p:grpSpPr>
        <p:sp>
          <p:nvSpPr>
            <p:cNvPr id="21" name="Прямоугольник 20"/>
            <p:cNvSpPr/>
            <p:nvPr/>
          </p:nvSpPr>
          <p:spPr>
            <a:xfrm>
              <a:off x="1318013" y="3429001"/>
              <a:ext cx="2142041" cy="179216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1858614" y="3326441"/>
              <a:ext cx="1060839" cy="4626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sp>
        <p:nvSpPr>
          <p:cNvPr id="6" name="Заголовок 5"/>
          <p:cNvSpPr>
            <a:spLocks noGrp="1"/>
          </p:cNvSpPr>
          <p:nvPr>
            <p:ph type="ctrTitle"/>
          </p:nvPr>
        </p:nvSpPr>
        <p:spPr>
          <a:xfrm>
            <a:off x="1238250" y="0"/>
            <a:ext cx="7429500" cy="1052513"/>
          </a:xfrm>
        </p:spPr>
        <p:txBody>
          <a:bodyPr anchor="ctr">
            <a:normAutofit/>
          </a:bodyPr>
          <a:lstStyle/>
          <a:p>
            <a:r>
              <a:rPr lang="ru-RU" sz="3600" dirty="0" smtClean="0"/>
              <a:t>ОСНОВНЫЕ ПРИНЦИПЫ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sz="2200" dirty="0" smtClean="0">
                <a:solidFill>
                  <a:srgbClr val="008C8C"/>
                </a:solidFill>
              </a:rPr>
              <a:t>КОТОРЫЕ ПРИМЕНЯЕМ</a:t>
            </a:r>
            <a:endParaRPr lang="ru-RU" sz="2200" dirty="0">
              <a:solidFill>
                <a:srgbClr val="008C8C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Знакомство с </a:t>
            </a:r>
            <a:r>
              <a:rPr lang="en-US" dirty="0"/>
              <a:t>Windows 10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1F8F668-C657-B34D-9FD9-A50672C6C47C}" type="slidenum">
              <a:rPr lang="ru-RU" altLang="en-US" smtClean="0"/>
              <a:pPr>
                <a:defRPr/>
              </a:pPr>
              <a:t>3</a:t>
            </a:fld>
            <a:endParaRPr lang="ru-RU" alt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4052900" y="4805092"/>
            <a:ext cx="1800200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b="1" dirty="0" smtClean="0">
                <a:solidFill>
                  <a:srgbClr val="008C8C"/>
                </a:solidFill>
                <a:latin typeface="Arial Narrow" panose="020B0606020202030204" pitchFamily="34" charset="0"/>
              </a:rPr>
              <a:t>УЧАСТВОВАТЬ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041232" y="4115702"/>
            <a:ext cx="1944406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b="1" dirty="0" smtClean="0">
                <a:solidFill>
                  <a:srgbClr val="008C8C"/>
                </a:solidFill>
                <a:latin typeface="Arial Narrow" panose="020B0606020202030204" pitchFamily="34" charset="0"/>
              </a:rPr>
              <a:t>ПРОВЕРЯТЬ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925576" y="4115702"/>
            <a:ext cx="1800200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ru-RU" b="1" dirty="0" smtClean="0">
                <a:solidFill>
                  <a:srgbClr val="008C8C"/>
                </a:solidFill>
                <a:latin typeface="Arial Narrow" panose="020B0606020202030204" pitchFamily="34" charset="0"/>
              </a:rPr>
              <a:t>СПРАШИВАТЬ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51641" y="2470504"/>
            <a:ext cx="2402718" cy="2224070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55513" y="1988840"/>
            <a:ext cx="702468" cy="1998076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77963" y="1988840"/>
            <a:ext cx="522328" cy="19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985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1" grpId="0"/>
      <p:bldP spid="12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ctrTitle"/>
          </p:nvPr>
        </p:nvSpPr>
        <p:spPr>
          <a:xfrm>
            <a:off x="1238250" y="0"/>
            <a:ext cx="7429500" cy="1052513"/>
          </a:xfrm>
        </p:spPr>
        <p:txBody>
          <a:bodyPr anchor="ctr">
            <a:normAutofit/>
          </a:bodyPr>
          <a:lstStyle/>
          <a:p>
            <a:r>
              <a:rPr lang="ru-RU" sz="3600" dirty="0" smtClean="0"/>
              <a:t>ОПИШИТЕ СВОИ ОЖИДАНИЯ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sz="2200" dirty="0" smtClean="0">
                <a:solidFill>
                  <a:srgbClr val="008C8C"/>
                </a:solidFill>
              </a:rPr>
              <a:t>ОТ ОБУЧЕНИЯ</a:t>
            </a:r>
            <a:endParaRPr lang="ru-RU" sz="2200" dirty="0">
              <a:solidFill>
                <a:srgbClr val="008C8C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/>
              <a:t>Знакомство с </a:t>
            </a:r>
            <a:r>
              <a:rPr lang="en-US" dirty="0"/>
              <a:t>Windows 10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1F8F668-C657-B34D-9FD9-A50672C6C47C}" type="slidenum">
              <a:rPr lang="ru-RU" altLang="en-US" smtClean="0"/>
              <a:pPr>
                <a:defRPr/>
              </a:pPr>
              <a:t>4</a:t>
            </a:fld>
            <a:endParaRPr lang="ru-RU" altLang="en-US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90680" y="2060848"/>
            <a:ext cx="2924640" cy="2924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9376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ограмма </a:t>
            </a:r>
            <a:r>
              <a:rPr lang="ru-RU" dirty="0" err="1" smtClean="0"/>
              <a:t>вебинара</a:t>
            </a:r>
            <a:endParaRPr lang="ru-RU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276900" y="769315"/>
            <a:ext cx="6353021" cy="496751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342900" indent="-342900" defTabSz="914400">
              <a:buFont typeface="+mj-lt"/>
              <a:buAutoNum type="arabicPeriod"/>
            </a:pPr>
            <a:r>
              <a:rPr lang="ru-RU" kern="0" dirty="0"/>
              <a:t>ИТ и требования </a:t>
            </a:r>
            <a:r>
              <a:rPr lang="ru-RU" kern="0" dirty="0" smtClean="0"/>
              <a:t>компании</a:t>
            </a:r>
            <a:endParaRPr lang="en-US" kern="0" dirty="0" smtClean="0"/>
          </a:p>
          <a:p>
            <a:pPr marL="342900" indent="-342900" defTabSz="914400">
              <a:buFont typeface="+mj-lt"/>
              <a:buAutoNum type="arabicPeriod"/>
            </a:pPr>
            <a:r>
              <a:rPr lang="ru-RU" kern="0" dirty="0"/>
              <a:t>Работа с </a:t>
            </a:r>
            <a:r>
              <a:rPr lang="ru-RU" kern="0" dirty="0" smtClean="0"/>
              <a:t>почтой</a:t>
            </a:r>
            <a:endParaRPr lang="en-US" kern="0" dirty="0" smtClean="0"/>
          </a:p>
          <a:p>
            <a:pPr marL="342900" indent="-342900" defTabSz="914400">
              <a:buFont typeface="+mj-lt"/>
              <a:buAutoNum type="arabicPeriod"/>
            </a:pPr>
            <a:r>
              <a:rPr lang="ru-RU" kern="0" dirty="0"/>
              <a:t>Многотомные </a:t>
            </a:r>
            <a:r>
              <a:rPr lang="ru-RU" kern="0" dirty="0" smtClean="0"/>
              <a:t>архивы</a:t>
            </a:r>
            <a:endParaRPr lang="en-US" kern="0" dirty="0" smtClean="0"/>
          </a:p>
          <a:p>
            <a:pPr marL="342900" indent="-342900" defTabSz="914400">
              <a:buFont typeface="+mj-lt"/>
              <a:buAutoNum type="arabicPeriod"/>
            </a:pPr>
            <a:r>
              <a:rPr lang="ru-RU" kern="0" dirty="0" err="1"/>
              <a:t>Лайфхаки</a:t>
            </a:r>
            <a:r>
              <a:rPr lang="ru-RU" kern="0" dirty="0"/>
              <a:t> и </a:t>
            </a:r>
            <a:r>
              <a:rPr lang="en-US" kern="0" dirty="0"/>
              <a:t>“</a:t>
            </a:r>
            <a:r>
              <a:rPr lang="ru-RU" kern="0" dirty="0"/>
              <a:t>сонный режим</a:t>
            </a:r>
            <a:r>
              <a:rPr lang="en-US" kern="0" dirty="0" smtClean="0"/>
              <a:t>”</a:t>
            </a:r>
          </a:p>
          <a:p>
            <a:pPr marL="342900" indent="-342900" defTabSz="914400">
              <a:buFont typeface="+mj-lt"/>
              <a:buAutoNum type="arabicPeriod"/>
            </a:pPr>
            <a:r>
              <a:rPr lang="ru-RU" kern="0" dirty="0"/>
              <a:t>Скайп VS статусы </a:t>
            </a:r>
          </a:p>
          <a:p>
            <a:pPr marL="342900" indent="-342900" defTabSz="914400">
              <a:buFont typeface="+mj-lt"/>
              <a:buAutoNum type="arabicPeriod"/>
            </a:pPr>
            <a:r>
              <a:rPr lang="ru-RU" kern="0" dirty="0"/>
              <a:t>Буфер обмена на несколько элементов</a:t>
            </a:r>
          </a:p>
          <a:p>
            <a:pPr marL="342900" indent="-342900" defTabSz="914400">
              <a:buFont typeface="+mj-lt"/>
              <a:buAutoNum type="arabicPeriod"/>
            </a:pPr>
            <a:r>
              <a:rPr lang="ru-RU" kern="0" dirty="0"/>
              <a:t>Виртуальные рабочие столы</a:t>
            </a:r>
          </a:p>
          <a:p>
            <a:pPr marL="342900" indent="-342900" defTabSz="914400">
              <a:buFont typeface="+mj-lt"/>
              <a:buAutoNum type="arabicPeriod"/>
            </a:pPr>
            <a:r>
              <a:rPr lang="ru-RU" kern="0" dirty="0"/>
              <a:t>Разделение экрана</a:t>
            </a:r>
          </a:p>
          <a:p>
            <a:pPr marL="342900" indent="-342900" defTabSz="914400">
              <a:buFont typeface="+mj-lt"/>
              <a:buAutoNum type="arabicPeriod"/>
            </a:pPr>
            <a:r>
              <a:rPr lang="ru-RU" kern="0" dirty="0"/>
              <a:t>Темы и оформление </a:t>
            </a:r>
            <a:r>
              <a:rPr lang="ru-RU" kern="0" dirty="0" err="1"/>
              <a:t>windows</a:t>
            </a:r>
            <a:endParaRPr lang="ru-RU" kern="0" dirty="0"/>
          </a:p>
          <a:p>
            <a:pPr marL="342900" indent="-342900" defTabSz="914400">
              <a:buFont typeface="+mj-lt"/>
              <a:buAutoNum type="arabicPeriod"/>
            </a:pPr>
            <a:r>
              <a:rPr lang="ru-RU" kern="0" dirty="0"/>
              <a:t>Технические данные компьютера</a:t>
            </a:r>
          </a:p>
          <a:p>
            <a:pPr marL="342900" indent="-342900" defTabSz="914400">
              <a:buFont typeface="+mj-lt"/>
              <a:buAutoNum type="arabicPeriod"/>
            </a:pPr>
            <a:r>
              <a:rPr lang="ru-RU" kern="0" dirty="0"/>
              <a:t>Поиск, работа с проводником</a:t>
            </a:r>
          </a:p>
          <a:p>
            <a:pPr marL="342900" indent="-342900" defTabSz="914400">
              <a:buFont typeface="+mj-lt"/>
              <a:buAutoNum type="arabicPeriod"/>
            </a:pPr>
            <a:r>
              <a:rPr lang="ru-RU" kern="0" dirty="0"/>
              <a:t>Как делать скриншоты</a:t>
            </a:r>
          </a:p>
          <a:p>
            <a:pPr marL="342900" indent="-342900" defTabSz="914400">
              <a:buFont typeface="+mj-lt"/>
              <a:buAutoNum type="arabicPeriod"/>
            </a:pPr>
            <a:r>
              <a:rPr lang="ru-RU" kern="0" dirty="0"/>
              <a:t>Как переключать язык? </a:t>
            </a:r>
          </a:p>
          <a:p>
            <a:pPr marL="342900" indent="-342900" defTabSz="914400">
              <a:buFont typeface="+mj-lt"/>
              <a:buAutoNum type="arabicPeriod"/>
            </a:pPr>
            <a:r>
              <a:rPr lang="ru-RU" kern="0" dirty="0"/>
              <a:t>Защита файлов от изменения</a:t>
            </a:r>
          </a:p>
          <a:p>
            <a:pPr marL="342900" indent="-342900" defTabSz="914400">
              <a:buFont typeface="+mj-lt"/>
              <a:buAutoNum type="arabicPeriod"/>
            </a:pPr>
            <a:r>
              <a:rPr lang="ru-RU" kern="0" dirty="0"/>
              <a:t>Как настроить частоту </a:t>
            </a:r>
            <a:r>
              <a:rPr lang="ru-RU" kern="0" dirty="0" err="1"/>
              <a:t>автосохранения</a:t>
            </a:r>
            <a:r>
              <a:rPr lang="ru-RU" kern="0" dirty="0"/>
              <a:t> продуктов </a:t>
            </a:r>
            <a:r>
              <a:rPr lang="ru-RU" kern="0" dirty="0" err="1"/>
              <a:t>office</a:t>
            </a:r>
            <a:endParaRPr lang="ru-RU" kern="0" dirty="0"/>
          </a:p>
          <a:p>
            <a:pPr defTabSz="914400"/>
            <a:endParaRPr lang="ru-RU" kern="0" dirty="0"/>
          </a:p>
          <a:p>
            <a:pPr defTabSz="914400"/>
            <a:endParaRPr lang="ru-RU" kern="0" dirty="0"/>
          </a:p>
          <a:p>
            <a:pPr defTabSz="914400"/>
            <a:endParaRPr lang="ru-RU" kern="0" dirty="0"/>
          </a:p>
        </p:txBody>
      </p:sp>
      <p:sp>
        <p:nvSpPr>
          <p:cNvPr id="4" name="TextBox 3"/>
          <p:cNvSpPr txBox="1"/>
          <p:nvPr/>
        </p:nvSpPr>
        <p:spPr>
          <a:xfrm>
            <a:off x="276900" y="5164183"/>
            <a:ext cx="7228004" cy="3631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i="1" dirty="0" smtClean="0">
                <a:solidFill>
                  <a:schemeClr val="accent1">
                    <a:lumMod val="75000"/>
                  </a:schemeClr>
                </a:solidFill>
              </a:rPr>
              <a:t>Также в конце вы найдете топ горячих клавиш данного </a:t>
            </a:r>
            <a:r>
              <a:rPr lang="ru-RU" i="1" dirty="0" err="1" smtClean="0">
                <a:solidFill>
                  <a:schemeClr val="accent1">
                    <a:lumMod val="75000"/>
                  </a:schemeClr>
                </a:solidFill>
              </a:rPr>
              <a:t>вебинара</a:t>
            </a:r>
            <a:endParaRPr lang="ru-RU" i="1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66470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3" name="Заголовок 1"/>
          <p:cNvSpPr txBox="1">
            <a:spLocks/>
          </p:cNvSpPr>
          <p:nvPr/>
        </p:nvSpPr>
        <p:spPr>
          <a:xfrm>
            <a:off x="276900" y="272720"/>
            <a:ext cx="9356100" cy="705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4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/>
              <a:t>ИТ и требования компании</a:t>
            </a:r>
            <a:endParaRPr lang="ru-RU" kern="0" dirty="0"/>
          </a:p>
        </p:txBody>
      </p:sp>
      <p:sp>
        <p:nvSpPr>
          <p:cNvPr id="6" name="TextBox 5"/>
          <p:cNvSpPr txBox="1"/>
          <p:nvPr/>
        </p:nvSpPr>
        <p:spPr>
          <a:xfrm>
            <a:off x="418011" y="1071153"/>
            <a:ext cx="9230368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Требования к длине пароля изменились в 2020 году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Разрешенные к работе браузеры </a:t>
            </a:r>
            <a:r>
              <a:rPr lang="en-US" dirty="0" smtClean="0"/>
              <a:t>Internet Explorer </a:t>
            </a:r>
            <a:r>
              <a:rPr lang="ru-RU" dirty="0" smtClean="0"/>
              <a:t>и </a:t>
            </a:r>
            <a:r>
              <a:rPr lang="en-US" dirty="0" smtClean="0"/>
              <a:t>Edge</a:t>
            </a:r>
            <a:endParaRPr lang="ru-RU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Самостоятельно ставить ПО нельзя (но немножечко можно – через Центр Программного обеспечения)</a:t>
            </a:r>
            <a:r>
              <a:rPr lang="en-US" dirty="0" smtClean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ru-RU" dirty="0"/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8011" y="2389254"/>
            <a:ext cx="5042263" cy="4145322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5860959" y="2417239"/>
            <a:ext cx="3386735" cy="1175706"/>
          </a:xfrm>
          <a:prstGeom prst="rect">
            <a:avLst/>
          </a:prstGeom>
          <a:noFill/>
          <a:ln w="7620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r>
              <a:rPr lang="ru-RU" dirty="0" smtClean="0"/>
              <a:t>ВАЖНО! При установке ПО почти всегда происходит принудительная перезагрузка компьютер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90915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3" name="Заголовок 1"/>
          <p:cNvSpPr txBox="1">
            <a:spLocks/>
          </p:cNvSpPr>
          <p:nvPr/>
        </p:nvSpPr>
        <p:spPr>
          <a:xfrm>
            <a:off x="276900" y="272720"/>
            <a:ext cx="9356100" cy="705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4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/>
              <a:t>Работа с почтой</a:t>
            </a:r>
            <a:endParaRPr lang="ru-RU" kern="0" dirty="0"/>
          </a:p>
        </p:txBody>
      </p:sp>
      <p:sp>
        <p:nvSpPr>
          <p:cNvPr id="4" name="TextBox 3"/>
          <p:cNvSpPr txBox="1"/>
          <p:nvPr/>
        </p:nvSpPr>
        <p:spPr>
          <a:xfrm>
            <a:off x="276900" y="712563"/>
            <a:ext cx="66316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i="1" dirty="0" smtClean="0">
                <a:solidFill>
                  <a:schemeClr val="tx2">
                    <a:lumMod val="75000"/>
                  </a:schemeClr>
                </a:solidFill>
              </a:rPr>
              <a:t>По работе с </a:t>
            </a:r>
            <a:r>
              <a:rPr lang="en-US" sz="1600" i="1" dirty="0" smtClean="0">
                <a:solidFill>
                  <a:schemeClr val="tx2">
                    <a:lumMod val="75000"/>
                  </a:schemeClr>
                </a:solidFill>
              </a:rPr>
              <a:t>Outlook </a:t>
            </a:r>
            <a:r>
              <a:rPr lang="ru-RU" sz="1600" i="1" dirty="0" smtClean="0">
                <a:solidFill>
                  <a:schemeClr val="tx2">
                    <a:lumMod val="75000"/>
                  </a:schemeClr>
                </a:solidFill>
              </a:rPr>
              <a:t>есть отдельный полноценный курс</a:t>
            </a:r>
            <a:endParaRPr lang="ru-RU" sz="1600" i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55107" y="1127784"/>
            <a:ext cx="5019195" cy="1446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Основные действия при работе со спамом:</a:t>
            </a:r>
          </a:p>
          <a:p>
            <a:pPr marL="742743" lvl="1" indent="-285750">
              <a:buFont typeface="Arial" panose="020B0604020202020204" pitchFamily="34" charset="0"/>
              <a:buChar char="•"/>
            </a:pPr>
            <a:r>
              <a:rPr lang="ru-RU" dirty="0" smtClean="0"/>
              <a:t>Отправителя заблокировать</a:t>
            </a:r>
          </a:p>
          <a:p>
            <a:pPr marL="742743" lvl="1" indent="-285750">
              <a:buFont typeface="Arial" panose="020B0604020202020204" pitchFamily="34" charset="0"/>
              <a:buChar char="•"/>
            </a:pPr>
            <a:r>
              <a:rPr lang="ru-RU" dirty="0" smtClean="0"/>
              <a:t>По ссылкам не переходить</a:t>
            </a:r>
          </a:p>
          <a:p>
            <a:pPr marL="742743" lvl="1" indent="-285750">
              <a:buFont typeface="Arial" panose="020B0604020202020204" pitchFamily="34" charset="0"/>
              <a:buChar char="•"/>
            </a:pPr>
            <a:r>
              <a:rPr lang="ru-RU" dirty="0" smtClean="0"/>
              <a:t>Вложения не открывать и удалить</a:t>
            </a:r>
          </a:p>
          <a:p>
            <a:pPr marL="742743" lvl="1" indent="-285750">
              <a:buFont typeface="Arial" panose="020B0604020202020204" pitchFamily="34" charset="0"/>
              <a:buChar char="•"/>
            </a:pPr>
            <a:r>
              <a:rPr lang="ru-RU" dirty="0" smtClean="0"/>
              <a:t>Сообщить в техподдержку</a:t>
            </a:r>
            <a:endParaRPr lang="ru-RU" dirty="0"/>
          </a:p>
        </p:txBody>
      </p:sp>
      <p:sp>
        <p:nvSpPr>
          <p:cNvPr id="7" name="TextBox 6"/>
          <p:cNvSpPr txBox="1"/>
          <p:nvPr/>
        </p:nvSpPr>
        <p:spPr>
          <a:xfrm>
            <a:off x="355107" y="2760955"/>
            <a:ext cx="8925713" cy="11757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Работа с вложениями:</a:t>
            </a:r>
          </a:p>
          <a:p>
            <a:pPr marL="742743" lvl="1" indent="-285750">
              <a:buFont typeface="Arial" panose="020B0604020202020204" pitchFamily="34" charset="0"/>
              <a:buChar char="•"/>
            </a:pPr>
            <a:r>
              <a:rPr lang="ru-RU" dirty="0" smtClean="0"/>
              <a:t>Размер до 10МБ (лучше больше)</a:t>
            </a:r>
          </a:p>
          <a:p>
            <a:pPr marL="742743" lvl="1" indent="-285750">
              <a:buFont typeface="Arial" panose="020B0604020202020204" pitchFamily="34" charset="0"/>
              <a:buChar char="•"/>
            </a:pPr>
            <a:r>
              <a:rPr lang="ru-RU" dirty="0" smtClean="0"/>
              <a:t>Более крупные вложения разбиваем по частям на многотомные архивы</a:t>
            </a:r>
          </a:p>
          <a:p>
            <a:pPr marL="742743" lvl="1" indent="-285750">
              <a:buFont typeface="Arial" panose="020B0604020202020204" pitchFamily="34" charset="0"/>
              <a:buChar char="•"/>
            </a:pPr>
            <a:r>
              <a:rPr lang="ru-RU" dirty="0" smtClean="0"/>
              <a:t>С внешними контрагентами вложениями можно обменяться через </a:t>
            </a:r>
            <a:r>
              <a:rPr lang="en-US" dirty="0" err="1" smtClean="0"/>
              <a:t>sharefiles</a:t>
            </a:r>
            <a:r>
              <a:rPr lang="en-US" dirty="0" smtClean="0"/>
              <a:t> </a:t>
            </a:r>
            <a:endParaRPr lang="ru-RU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5107" y="4669655"/>
            <a:ext cx="7441619" cy="1356685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355107" y="4284172"/>
            <a:ext cx="780022" cy="3631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Блиц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7166200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3" name="Заголовок 1"/>
          <p:cNvSpPr txBox="1">
            <a:spLocks/>
          </p:cNvSpPr>
          <p:nvPr/>
        </p:nvSpPr>
        <p:spPr>
          <a:xfrm>
            <a:off x="276900" y="272720"/>
            <a:ext cx="9356100" cy="705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4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 smtClean="0"/>
              <a:t>Многотомные архивы</a:t>
            </a:r>
            <a:endParaRPr lang="ru-RU" kern="0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292279" y="725771"/>
            <a:ext cx="9356100" cy="17173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>
                <a:solidFill>
                  <a:srgbClr val="444444"/>
                </a:solidFill>
                <a:latin typeface="Open Sans"/>
              </a:rPr>
              <a:t>Для </a:t>
            </a:r>
            <a:r>
              <a:rPr lang="ru-RU" b="1" dirty="0">
                <a:solidFill>
                  <a:srgbClr val="444444"/>
                </a:solidFill>
                <a:latin typeface="Open Sans"/>
              </a:rPr>
              <a:t>создания многотомного архива</a:t>
            </a:r>
            <a:r>
              <a:rPr lang="ru-RU" dirty="0">
                <a:solidFill>
                  <a:srgbClr val="444444"/>
                </a:solidFill>
                <a:latin typeface="Open Sans"/>
              </a:rPr>
              <a:t> при помощи 7zip, достаточно выполнить следующие действия:</a:t>
            </a:r>
          </a:p>
          <a:p>
            <a:pPr algn="just">
              <a:buFont typeface="+mj-lt"/>
              <a:buAutoNum type="arabicPeriod"/>
            </a:pPr>
            <a:r>
              <a:rPr lang="ru-RU" dirty="0">
                <a:solidFill>
                  <a:srgbClr val="444444"/>
                </a:solidFill>
                <a:latin typeface="Open Sans"/>
              </a:rPr>
              <a:t>Создайте новую папку на вашем компьютере и поместите туда файлы, которые вы хотите заархивировать.</a:t>
            </a:r>
          </a:p>
          <a:p>
            <a:pPr algn="just">
              <a:buFont typeface="+mj-lt"/>
              <a:buAutoNum type="arabicPeriod"/>
            </a:pPr>
            <a:r>
              <a:rPr lang="ru-RU" dirty="0">
                <a:solidFill>
                  <a:srgbClr val="444444"/>
                </a:solidFill>
                <a:latin typeface="Open Sans"/>
              </a:rPr>
              <a:t>Выделите ваши файлы в папке и нажмите правой кнопкой мыши по ним. Выберите пункт меню </a:t>
            </a:r>
            <a:r>
              <a:rPr lang="ru-RU" dirty="0" smtClean="0">
                <a:solidFill>
                  <a:srgbClr val="444444"/>
                </a:solidFill>
                <a:latin typeface="Open Sans"/>
              </a:rPr>
              <a:t>7zip → "</a:t>
            </a:r>
            <a:r>
              <a:rPr lang="ru-RU" dirty="0">
                <a:solidFill>
                  <a:srgbClr val="444444"/>
                </a:solidFill>
                <a:latin typeface="Open Sans"/>
              </a:rPr>
              <a:t>Добавить к архиву":</a:t>
            </a:r>
            <a:endParaRPr lang="ru-RU" b="0" i="0" dirty="0">
              <a:solidFill>
                <a:srgbClr val="444444"/>
              </a:solidFill>
              <a:effectLst/>
              <a:latin typeface="Open Sans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0818" y="2443164"/>
            <a:ext cx="4001281" cy="4007756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4954950" y="2621280"/>
            <a:ext cx="1493679" cy="3631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Меняем имя</a:t>
            </a:r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4954950" y="3162572"/>
            <a:ext cx="3255763" cy="3631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Задаем пароль для открытия</a:t>
            </a:r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4970328" y="3703864"/>
            <a:ext cx="4935671" cy="6340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Выбираем на части по сколько мегабайт разбить</a:t>
            </a:r>
            <a:endParaRPr lang="ru-RU" dirty="0"/>
          </a:p>
        </p:txBody>
      </p:sp>
      <p:cxnSp>
        <p:nvCxnSpPr>
          <p:cNvPr id="15" name="Соединительная линия уступом 14"/>
          <p:cNvCxnSpPr>
            <a:stCxn id="11" idx="1"/>
          </p:cNvCxnSpPr>
          <p:nvPr/>
        </p:nvCxnSpPr>
        <p:spPr bwMode="auto">
          <a:xfrm rot="10800000" flipV="1">
            <a:off x="4075612" y="2802868"/>
            <a:ext cx="879339" cy="36126"/>
          </a:xfrm>
          <a:prstGeom prst="bentConnector3">
            <a:avLst/>
          </a:prstGeom>
          <a:solidFill>
            <a:schemeClr val="accent1"/>
          </a:solidFill>
          <a:ln w="2857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Соединительная линия уступом 16"/>
          <p:cNvCxnSpPr>
            <a:stCxn id="12" idx="1"/>
          </p:cNvCxnSpPr>
          <p:nvPr/>
        </p:nvCxnSpPr>
        <p:spPr bwMode="auto">
          <a:xfrm rot="10800000" flipV="1">
            <a:off x="3291840" y="3344160"/>
            <a:ext cx="1663110" cy="1071086"/>
          </a:xfrm>
          <a:prstGeom prst="bentConnector3">
            <a:avLst/>
          </a:prstGeom>
          <a:solidFill>
            <a:schemeClr val="accent1"/>
          </a:solidFill>
          <a:ln w="2857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9" name="Соединительная линия уступом 18"/>
          <p:cNvCxnSpPr>
            <a:stCxn id="13" idx="1"/>
          </p:cNvCxnSpPr>
          <p:nvPr/>
        </p:nvCxnSpPr>
        <p:spPr bwMode="auto">
          <a:xfrm rot="10800000" flipV="1">
            <a:off x="2420984" y="4020873"/>
            <a:ext cx="2549345" cy="1143309"/>
          </a:xfrm>
          <a:prstGeom prst="bentConnector3">
            <a:avLst>
              <a:gd name="adj1" fmla="val 10374"/>
            </a:avLst>
          </a:prstGeom>
          <a:solidFill>
            <a:schemeClr val="accent1"/>
          </a:solidFill>
          <a:ln w="28575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1" name="Прямоугольник 20"/>
          <p:cNvSpPr/>
          <p:nvPr/>
        </p:nvSpPr>
        <p:spPr>
          <a:xfrm>
            <a:off x="4970328" y="4516000"/>
            <a:ext cx="4680001" cy="1717393"/>
          </a:xfrm>
          <a:prstGeom prst="rect">
            <a:avLst/>
          </a:prstGeom>
          <a:ln w="38100">
            <a:solidFill>
              <a:schemeClr val="accent1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444444"/>
                </a:solidFill>
                <a:latin typeface="Open Sans"/>
              </a:rPr>
              <a:t>Для того, чтобы </a:t>
            </a:r>
            <a:r>
              <a:rPr lang="ru-RU" b="1" dirty="0">
                <a:solidFill>
                  <a:srgbClr val="444444"/>
                </a:solidFill>
                <a:latin typeface="Open Sans"/>
              </a:rPr>
              <a:t>разархивировать многотомный архив</a:t>
            </a:r>
            <a:r>
              <a:rPr lang="ru-RU" dirty="0">
                <a:solidFill>
                  <a:srgbClr val="444444"/>
                </a:solidFill>
                <a:latin typeface="Open Sans"/>
              </a:rPr>
              <a:t>, вам нужно поместить все файлы архива в одну папку. Затем нажать правой кнопкой мыши по первому архиву и выбрать 7zip -&gt; "Распаковать здесь"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7645274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3" name="Заголовок 1"/>
          <p:cNvSpPr txBox="1">
            <a:spLocks/>
          </p:cNvSpPr>
          <p:nvPr/>
        </p:nvSpPr>
        <p:spPr>
          <a:xfrm>
            <a:off x="276900" y="272720"/>
            <a:ext cx="9356100" cy="705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400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ru-RU" kern="0" dirty="0" err="1"/>
              <a:t>Лайфхаки</a:t>
            </a:r>
            <a:r>
              <a:rPr lang="ru-RU" kern="0" dirty="0"/>
              <a:t> и </a:t>
            </a:r>
            <a:r>
              <a:rPr lang="en-US" kern="0" dirty="0" smtClean="0"/>
              <a:t>“</a:t>
            </a:r>
            <a:r>
              <a:rPr lang="ru-RU" kern="0" dirty="0" smtClean="0"/>
              <a:t>сонный режим</a:t>
            </a:r>
            <a:r>
              <a:rPr lang="en-US" kern="0" dirty="0" smtClean="0"/>
              <a:t>”</a:t>
            </a:r>
            <a:endParaRPr lang="ru-RU" kern="0" dirty="0"/>
          </a:p>
        </p:txBody>
      </p:sp>
      <p:sp>
        <p:nvSpPr>
          <p:cNvPr id="4" name="TextBox 3"/>
          <p:cNvSpPr txBox="1"/>
          <p:nvPr/>
        </p:nvSpPr>
        <p:spPr>
          <a:xfrm>
            <a:off x="276899" y="796732"/>
            <a:ext cx="9467991" cy="11018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Почему важно переводить технику в спящий режим перед тем как её оставить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Быстрое сочетание клавиш </a:t>
            </a:r>
            <a:r>
              <a:rPr lang="en-US" sz="1600" dirty="0"/>
              <a:t>WIN</a:t>
            </a:r>
            <a:r>
              <a:rPr lang="ru-RU" sz="1600" dirty="0"/>
              <a:t>+</a:t>
            </a:r>
            <a:r>
              <a:rPr lang="en-US" sz="1600" dirty="0" smtClean="0"/>
              <a:t>L</a:t>
            </a:r>
            <a:endParaRPr lang="ru-RU" sz="16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Зацикленное видео против спящего режим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600" dirty="0" smtClean="0"/>
              <a:t>Как сделать так, чтобы скайп не выдавал статус Неактивен и Нет на месте автоматически</a:t>
            </a:r>
            <a:endParaRPr lang="ru-RU" sz="1600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76898" y="1898572"/>
            <a:ext cx="5792976" cy="2593748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 bwMode="auto">
          <a:xfrm>
            <a:off x="5408024" y="2569028"/>
            <a:ext cx="522513" cy="566058"/>
          </a:xfrm>
          <a:prstGeom prst="rect">
            <a:avLst/>
          </a:prstGeom>
          <a:noFill/>
          <a:ln w="38100" cap="flat" cmpd="sng" algn="ctr">
            <a:solidFill>
              <a:schemeClr val="accent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76898" y="4667795"/>
            <a:ext cx="285366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kern="0" dirty="0">
                <a:solidFill>
                  <a:srgbClr val="008C95"/>
                </a:solidFill>
                <a:latin typeface="+mj-lt"/>
                <a:ea typeface="+mj-ea"/>
                <a:cs typeface="+mj-cs"/>
              </a:rPr>
              <a:t>Скайп </a:t>
            </a:r>
            <a:r>
              <a:rPr lang="en-US" sz="2400" kern="0" dirty="0">
                <a:solidFill>
                  <a:srgbClr val="008C95"/>
                </a:solidFill>
                <a:latin typeface="+mj-lt"/>
                <a:ea typeface="+mj-ea"/>
                <a:cs typeface="+mj-cs"/>
              </a:rPr>
              <a:t>VS </a:t>
            </a:r>
            <a:r>
              <a:rPr lang="ru-RU" sz="2400" kern="0" dirty="0">
                <a:solidFill>
                  <a:srgbClr val="008C95"/>
                </a:solidFill>
                <a:latin typeface="+mj-lt"/>
                <a:ea typeface="+mj-ea"/>
                <a:cs typeface="+mj-cs"/>
              </a:rPr>
              <a:t>статусы 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76898" y="5197565"/>
            <a:ext cx="6523324" cy="36317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smtClean="0"/>
              <a:t>Статус «не беспокоить» и доступность для рабочих групп</a:t>
            </a:r>
            <a:endParaRPr lang="ru-RU" dirty="0"/>
          </a:p>
        </p:txBody>
      </p:sp>
      <p:sp>
        <p:nvSpPr>
          <p:cNvPr id="12" name="TextBox 11"/>
          <p:cNvSpPr txBox="1"/>
          <p:nvPr/>
        </p:nvSpPr>
        <p:spPr>
          <a:xfrm>
            <a:off x="276898" y="5665428"/>
            <a:ext cx="663162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i="1" dirty="0" smtClean="0">
                <a:solidFill>
                  <a:schemeClr val="tx2">
                    <a:lumMod val="75000"/>
                  </a:schemeClr>
                </a:solidFill>
              </a:rPr>
              <a:t>По работе со </a:t>
            </a:r>
            <a:r>
              <a:rPr lang="en-US" sz="1600" i="1" dirty="0" smtClean="0">
                <a:solidFill>
                  <a:schemeClr val="tx2">
                    <a:lumMod val="75000"/>
                  </a:schemeClr>
                </a:solidFill>
              </a:rPr>
              <a:t>S4B </a:t>
            </a:r>
            <a:r>
              <a:rPr lang="ru-RU" sz="1600" i="1" dirty="0" smtClean="0">
                <a:solidFill>
                  <a:schemeClr val="tx2">
                    <a:lumMod val="75000"/>
                  </a:schemeClr>
                </a:solidFill>
              </a:rPr>
              <a:t>есть отдельный полноценный курс</a:t>
            </a:r>
            <a:endParaRPr lang="ru-RU" sz="1600" i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36394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gT_dPsv49HWo3x4Ty0p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.OHDXs.Ye1RT2XxjU23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1U9VwQ5CH9nqjuHtU4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1U9VwQ5CH9nqjuHtU4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1U9VwQ5CH9nqjuHtU4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UGovTql5CYr15P5NzN1B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AKOy2aSBWb3iLNlO4rf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iDM_HyTh2TAnVUjbbBu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zF.MLByjpSvGZodTf0d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zF.MLByjpSvGZodTf0d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zF.MLByjpSvGZodTf0d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G4TtAs2uhPS_uSNT2Sc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L0ivmixc_ha5Inn7Kqd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o26XOB8PUuC4iV4G5K2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o26XOB8PUuC4iV4G5K2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o26XOB8PUuC4iV4G5K2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1U9VwQ5CH9nqjuHtU4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j1U9VwQ5CH9nqjuHtU4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efault Theme" id="{EB390018-2F99-40C3-9F45-866F97BEB46A}" vid="{A2F52A0D-F309-4F50-8FD1-296E22AA2AD1}"/>
    </a:ext>
  </a:extLst>
</a:theme>
</file>

<file path=ppt/theme/theme2.xml><?xml version="1.0" encoding="utf-8"?>
<a:theme xmlns:a="http://schemas.openxmlformats.org/drawingml/2006/main" name="Базовые слайды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ШАБЛОН_А4_RU_(2020).pptx" id="{68CAEA79-4DF2-4260-BEB3-5657232FC59D}" vid="{7B2B6E6D-65B8-4988-B7B0-1A35BBD28724}"/>
    </a:ext>
  </a:extLst>
</a:theme>
</file>

<file path=ppt/theme/theme3.xml><?xml version="1.0" encoding="utf-8"?>
<a:theme xmlns:a="http://schemas.openxmlformats.org/drawingml/2006/main" name="Одна колонка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ШАБЛОН_А4_RU_(2020).pptx" id="{68CAEA79-4DF2-4260-BEB3-5657232FC59D}" vid="{192FCAC0-38F7-4C0E-B786-3BCC783A0DF6}"/>
    </a:ext>
  </a:extLst>
</a:theme>
</file>

<file path=ppt/theme/theme4.xml><?xml version="1.0" encoding="utf-8"?>
<a:theme xmlns:a="http://schemas.openxmlformats.org/drawingml/2006/main" name="Две колонки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ШАБЛОН_А4_RU_(2020).pptx" id="{68CAEA79-4DF2-4260-BEB3-5657232FC59D}" vid="{77D29894-116E-4C53-8641-226B509085BE}"/>
    </a:ext>
  </a:extLst>
</a:theme>
</file>

<file path=ppt/theme/theme5.xml><?xml version="1.0" encoding="utf-8"?>
<a:theme xmlns:a="http://schemas.openxmlformats.org/drawingml/2006/main" name="Три колонки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ШАБЛОН_А4_RU_(2020).pptx" id="{68CAEA79-4DF2-4260-BEB3-5657232FC59D}" vid="{96EF54C8-E32E-4180-BB6B-87EEB48D80F9}"/>
    </a:ext>
  </a:extLst>
</a:theme>
</file>

<file path=ppt/theme/theme6.xml><?xml version="1.0" encoding="utf-8"?>
<a:theme xmlns:a="http://schemas.openxmlformats.org/drawingml/2006/main" name="Четыре колонки и более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ШАБЛОН_А4_RU_(2020).pptx" id="{68CAEA79-4DF2-4260-BEB3-5657232FC59D}" vid="{4E7E2734-B8D0-4051-838E-B776A4AAC1D3}"/>
    </a:ext>
  </a:extLst>
</a:theme>
</file>

<file path=ppt/theme/theme7.xml><?xml version="1.0" encoding="utf-8"?>
<a:theme xmlns:a="http://schemas.openxmlformats.org/drawingml/2006/main" name="Схемы">
  <a:themeElements>
    <a:clrScheme name="Другая 4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ШАБЛОН_А4_RU_(2020).pptx" id="{68CAEA79-4DF2-4260-BEB3-5657232FC59D}" vid="{D1D8EEEB-3AD8-4699-8065-D8753831CD54}"/>
    </a:ext>
  </a:extLst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35</TotalTime>
  <Words>1483</Words>
  <Application>Microsoft Office PowerPoint</Application>
  <PresentationFormat>Лист A4 (210x297 мм)</PresentationFormat>
  <Paragraphs>161</Paragraphs>
  <Slides>25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5</vt:i4>
      </vt:variant>
    </vt:vector>
  </HeadingPairs>
  <TitlesOfParts>
    <vt:vector size="40" baseType="lpstr">
      <vt:lpstr>Arial</vt:lpstr>
      <vt:lpstr>Arial Narrow</vt:lpstr>
      <vt:lpstr>Calibri</vt:lpstr>
      <vt:lpstr>Open Sans</vt:lpstr>
      <vt:lpstr>Times New Roman</vt:lpstr>
      <vt:lpstr>Wingdings</vt:lpstr>
      <vt:lpstr>YS Text Optional</vt:lpstr>
      <vt:lpstr>Default Theme</vt:lpstr>
      <vt:lpstr>Базовые слайды</vt:lpstr>
      <vt:lpstr>Одна колонка</vt:lpstr>
      <vt:lpstr>Две колонки</vt:lpstr>
      <vt:lpstr>Три колонки</vt:lpstr>
      <vt:lpstr>Четыре колонки и более</vt:lpstr>
      <vt:lpstr>Схемы</vt:lpstr>
      <vt:lpstr>think-cell Slide</vt:lpstr>
      <vt:lpstr>Знакомство с Windows 10</vt:lpstr>
      <vt:lpstr>КОНТАКТ ПО БЕЗОПАСНОСТИ В БЕЗОПАСНОСТИ НЕТ МЕЛОЧЕЙ</vt:lpstr>
      <vt:lpstr>ОСНОВНЫЕ ПРИНЦИПЫ КОТОРЫЕ ПРИМЕНЯЕМ</vt:lpstr>
      <vt:lpstr>ОПИШИТЕ СВОИ ОЖИДАНИЯ ОТ ОБУЧЕНИЯ</vt:lpstr>
      <vt:lpstr>Программа вебинара</vt:lpstr>
      <vt:lpstr>Презентация PowerPoint</vt:lpstr>
      <vt:lpstr>Презентация PowerPoint</vt:lpstr>
      <vt:lpstr>Презентация PowerPoint</vt:lpstr>
      <vt:lpstr>Презентация PowerPoint</vt:lpstr>
      <vt:lpstr>Буфер обмена на несколько элементов</vt:lpstr>
      <vt:lpstr>Виртуальные рабочие столы</vt:lpstr>
      <vt:lpstr>Презентация PowerPoint</vt:lpstr>
      <vt:lpstr>Темы и оформление windows</vt:lpstr>
      <vt:lpstr>Технические данные компьютер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SIBU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Знакомство с Windows 10</dc:title>
  <dc:creator>Змитрович Людмила Александровна</dc:creator>
  <cp:lastModifiedBy>Змитрович Людмила Александровна</cp:lastModifiedBy>
  <cp:revision>14</cp:revision>
  <dcterms:created xsi:type="dcterms:W3CDTF">2020-12-29T14:03:42Z</dcterms:created>
  <dcterms:modified xsi:type="dcterms:W3CDTF">2020-12-29T16:19:18Z</dcterms:modified>
</cp:coreProperties>
</file>